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263" r:id="rId2"/>
    <p:sldId id="272" r:id="rId3"/>
    <p:sldId id="264" r:id="rId4"/>
    <p:sldId id="278" r:id="rId5"/>
    <p:sldId id="274" r:id="rId6"/>
    <p:sldId id="279" r:id="rId7"/>
    <p:sldId id="280" r:id="rId8"/>
    <p:sldId id="281" r:id="rId9"/>
    <p:sldId id="283" r:id="rId10"/>
    <p:sldId id="265" r:id="rId11"/>
    <p:sldId id="267" r:id="rId12"/>
    <p:sldId id="269" r:id="rId13"/>
    <p:sldId id="276" r:id="rId14"/>
    <p:sldId id="275" r:id="rId15"/>
  </p:sldIdLst>
  <p:sldSz cx="9144000" cy="6858000" type="screen4x3"/>
  <p:notesSz cx="6858000" cy="91440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96">
          <p15:clr>
            <a:srgbClr val="A4A3A4"/>
          </p15:clr>
        </p15:guide>
        <p15:guide id="2" orient="horz" pos="629">
          <p15:clr>
            <a:srgbClr val="A4A3A4"/>
          </p15:clr>
        </p15:guide>
        <p15:guide id="3" orient="horz" pos="997">
          <p15:clr>
            <a:srgbClr val="A4A3A4"/>
          </p15:clr>
        </p15:guide>
        <p15:guide id="4" orient="horz">
          <p15:clr>
            <a:srgbClr val="A4A3A4"/>
          </p15:clr>
        </p15:guide>
        <p15:guide id="5" orient="horz" pos="217">
          <p15:clr>
            <a:srgbClr val="A4A3A4"/>
          </p15:clr>
        </p15:guide>
        <p15:guide id="6" orient="horz" pos="3681">
          <p15:clr>
            <a:srgbClr val="A4A3A4"/>
          </p15:clr>
        </p15:guide>
        <p15:guide id="7" orient="horz" pos="4054">
          <p15:clr>
            <a:srgbClr val="A4A3A4"/>
          </p15:clr>
        </p15:guide>
        <p15:guide id="8" pos="631">
          <p15:clr>
            <a:srgbClr val="A4A3A4"/>
          </p15:clr>
        </p15:guide>
        <p15:guide id="9" pos="1020">
          <p15:clr>
            <a:srgbClr val="A4A3A4"/>
          </p15:clr>
        </p15:guide>
        <p15:guide id="10" pos="5389">
          <p15:clr>
            <a:srgbClr val="A4A3A4"/>
          </p15:clr>
        </p15:guide>
        <p15:guide id="11" pos="3120">
          <p15:clr>
            <a:srgbClr val="A4A3A4"/>
          </p15:clr>
        </p15:guide>
        <p15:guide id="12" pos="219">
          <p15:clr>
            <a:srgbClr val="A4A3A4"/>
          </p15:clr>
        </p15:guide>
        <p15:guide id="13" pos="329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2922E"/>
    <a:srgbClr val="1954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5620"/>
    <p:restoredTop sz="94660"/>
  </p:normalViewPr>
  <p:slideViewPr>
    <p:cSldViewPr snapToGrid="0" showGuides="1">
      <p:cViewPr varScale="1">
        <p:scale>
          <a:sx n="63" d="100"/>
          <a:sy n="63" d="100"/>
        </p:scale>
        <p:origin x="676" y="48"/>
      </p:cViewPr>
      <p:guideLst>
        <p:guide orient="horz" pos="1296"/>
        <p:guide orient="horz" pos="629"/>
        <p:guide orient="horz" pos="997"/>
        <p:guide orient="horz"/>
        <p:guide orient="horz" pos="217"/>
        <p:guide orient="horz" pos="3681"/>
        <p:guide orient="horz" pos="4054"/>
        <p:guide pos="631"/>
        <p:guide pos="1020"/>
        <p:guide pos="5389"/>
        <p:guide pos="3120"/>
        <p:guide pos="219"/>
        <p:guide pos="3292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-3174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79D065-03A5-4C09-9A36-A973175AAF75}" type="datetimeFigureOut">
              <a:rPr lang="en-GB" smtClean="0"/>
              <a:pPr/>
              <a:t>2020-04-27</a:t>
            </a:fld>
            <a:endParaRPr lang="en-GB" dirty="0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F99DCF-A131-4957-829E-DFB5C8C3EC8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54865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0B3FCC-B918-4152-9E66-E75FC904356A}" type="datetimeFigureOut">
              <a:rPr lang="sv-SE" smtClean="0"/>
              <a:t>2020-04-27</a:t>
            </a:fld>
            <a:endParaRPr lang="sv-SE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0AF3139-B3F7-498D-8734-BAA18913C5CC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520463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15106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" name="textruta 5"/>
          <p:cNvSpPr txBox="1"/>
          <p:nvPr userDrawn="1"/>
        </p:nvSpPr>
        <p:spPr>
          <a:xfrm>
            <a:off x="7103422" y="263482"/>
            <a:ext cx="177965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100" b="1" dirty="0"/>
              <a:t>KTH ROYAL INSTITUTE</a:t>
            </a:r>
            <a:br>
              <a:rPr lang="sv-SE" sz="1100" b="1" dirty="0"/>
            </a:br>
            <a:r>
              <a:rPr lang="sv-SE" sz="1100" b="1" dirty="0"/>
              <a:t>OF</a:t>
            </a:r>
            <a:r>
              <a:rPr lang="sv-SE" sz="1100" b="1" baseline="0" dirty="0"/>
              <a:t> TECHNOLOGY</a:t>
            </a:r>
            <a:endParaRPr lang="sv-SE" sz="1100" b="1" dirty="0"/>
          </a:p>
        </p:txBody>
      </p:sp>
    </p:spTree>
    <p:extLst>
      <p:ext uri="{BB962C8B-B14F-4D97-AF65-F5344CB8AC3E}">
        <p14:creationId xmlns:p14="http://schemas.microsoft.com/office/powerpoint/2010/main" val="34048024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14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1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tx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11996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00EA7-DA1B-4E6D-8870-707C2883C942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2012844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7" name="Platshållare för innehåll 6"/>
          <p:cNvSpPr>
            <a:spLocks noGrp="1"/>
          </p:cNvSpPr>
          <p:nvPr>
            <p:ph sz="quarter" idx="13"/>
          </p:nvPr>
        </p:nvSpPr>
        <p:spPr>
          <a:xfrm>
            <a:off x="1822012" y="1874601"/>
            <a:ext cx="6862738" cy="4059457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40573899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16334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endParaRPr lang="sv-SE" dirty="0"/>
          </a:p>
        </p:txBody>
      </p:sp>
      <p:sp>
        <p:nvSpPr>
          <p:cNvPr id="9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10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826639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endParaRPr lang="sv-SE" dirty="0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342031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Platshållare för diagram 7"/>
          <p:cNvSpPr>
            <a:spLocks noGrp="1"/>
          </p:cNvSpPr>
          <p:nvPr>
            <p:ph type="chart" sz="quarter" idx="13"/>
          </p:nvPr>
        </p:nvSpPr>
        <p:spPr>
          <a:xfrm>
            <a:off x="5226050" y="1582740"/>
            <a:ext cx="3328988" cy="4078286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9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endParaRPr lang="sv-SE" dirty="0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114957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1619250" y="1582739"/>
            <a:ext cx="3328988" cy="4078286"/>
          </a:xfrm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0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endParaRPr lang="sv-SE" dirty="0"/>
          </a:p>
        </p:txBody>
      </p:sp>
      <p:sp>
        <p:nvSpPr>
          <p:cNvPr id="12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073696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-10639" y="1582739"/>
            <a:ext cx="9208426" cy="4713858"/>
          </a:xfrm>
          <a:custGeom>
            <a:avLst/>
            <a:gdLst>
              <a:gd name="connsiteX0" fmla="*/ 708568 w 9144000"/>
              <a:gd name="connsiteY0" fmla="*/ 0 h 4251325"/>
              <a:gd name="connsiteX1" fmla="*/ 9144000 w 9144000"/>
              <a:gd name="connsiteY1" fmla="*/ 0 h 4251325"/>
              <a:gd name="connsiteX2" fmla="*/ 9144000 w 9144000"/>
              <a:gd name="connsiteY2" fmla="*/ 0 h 4251325"/>
              <a:gd name="connsiteX3" fmla="*/ 9144000 w 9144000"/>
              <a:gd name="connsiteY3" fmla="*/ 3542757 h 4251325"/>
              <a:gd name="connsiteX4" fmla="*/ 8435432 w 9144000"/>
              <a:gd name="connsiteY4" fmla="*/ 4251325 h 4251325"/>
              <a:gd name="connsiteX5" fmla="*/ 0 w 9144000"/>
              <a:gd name="connsiteY5" fmla="*/ 4251325 h 4251325"/>
              <a:gd name="connsiteX6" fmla="*/ 0 w 9144000"/>
              <a:gd name="connsiteY6" fmla="*/ 4251325 h 4251325"/>
              <a:gd name="connsiteX7" fmla="*/ 0 w 9144000"/>
              <a:gd name="connsiteY7" fmla="*/ 708568 h 4251325"/>
              <a:gd name="connsiteX8" fmla="*/ 708568 w 9144000"/>
              <a:gd name="connsiteY8" fmla="*/ 0 h 4251325"/>
              <a:gd name="connsiteX0" fmla="*/ 180030 w 9301262"/>
              <a:gd name="connsiteY0" fmla="*/ 0 h 4260850"/>
              <a:gd name="connsiteX1" fmla="*/ 9301262 w 9301262"/>
              <a:gd name="connsiteY1" fmla="*/ 9525 h 4260850"/>
              <a:gd name="connsiteX2" fmla="*/ 9301262 w 9301262"/>
              <a:gd name="connsiteY2" fmla="*/ 9525 h 4260850"/>
              <a:gd name="connsiteX3" fmla="*/ 9301262 w 9301262"/>
              <a:gd name="connsiteY3" fmla="*/ 3552282 h 4260850"/>
              <a:gd name="connsiteX4" fmla="*/ 8592694 w 9301262"/>
              <a:gd name="connsiteY4" fmla="*/ 4260850 h 4260850"/>
              <a:gd name="connsiteX5" fmla="*/ 157262 w 9301262"/>
              <a:gd name="connsiteY5" fmla="*/ 4260850 h 4260850"/>
              <a:gd name="connsiteX6" fmla="*/ 157262 w 9301262"/>
              <a:gd name="connsiteY6" fmla="*/ 4260850 h 4260850"/>
              <a:gd name="connsiteX7" fmla="*/ 157262 w 9301262"/>
              <a:gd name="connsiteY7" fmla="*/ 718093 h 4260850"/>
              <a:gd name="connsiteX8" fmla="*/ 180030 w 9301262"/>
              <a:gd name="connsiteY8" fmla="*/ 0 h 4260850"/>
              <a:gd name="connsiteX0" fmla="*/ 23406 w 9144638"/>
              <a:gd name="connsiteY0" fmla="*/ 0 h 4260850"/>
              <a:gd name="connsiteX1" fmla="*/ 9144638 w 9144638"/>
              <a:gd name="connsiteY1" fmla="*/ 9525 h 4260850"/>
              <a:gd name="connsiteX2" fmla="*/ 9144638 w 9144638"/>
              <a:gd name="connsiteY2" fmla="*/ 9525 h 4260850"/>
              <a:gd name="connsiteX3" fmla="*/ 9144638 w 9144638"/>
              <a:gd name="connsiteY3" fmla="*/ 3552282 h 4260850"/>
              <a:gd name="connsiteX4" fmla="*/ 8436070 w 9144638"/>
              <a:gd name="connsiteY4" fmla="*/ 4260850 h 4260850"/>
              <a:gd name="connsiteX5" fmla="*/ 638 w 9144638"/>
              <a:gd name="connsiteY5" fmla="*/ 4260850 h 4260850"/>
              <a:gd name="connsiteX6" fmla="*/ 638 w 9144638"/>
              <a:gd name="connsiteY6" fmla="*/ 4260850 h 4260850"/>
              <a:gd name="connsiteX7" fmla="*/ 638 w 9144638"/>
              <a:gd name="connsiteY7" fmla="*/ 718093 h 4260850"/>
              <a:gd name="connsiteX8" fmla="*/ 23406 w 9144638"/>
              <a:gd name="connsiteY8" fmla="*/ 0 h 4260850"/>
              <a:gd name="connsiteX0" fmla="*/ 11705 w 9161512"/>
              <a:gd name="connsiteY0" fmla="*/ 9525 h 4251325"/>
              <a:gd name="connsiteX1" fmla="*/ 9161512 w 9161512"/>
              <a:gd name="connsiteY1" fmla="*/ 0 h 4251325"/>
              <a:gd name="connsiteX2" fmla="*/ 9161512 w 9161512"/>
              <a:gd name="connsiteY2" fmla="*/ 0 h 4251325"/>
              <a:gd name="connsiteX3" fmla="*/ 9161512 w 9161512"/>
              <a:gd name="connsiteY3" fmla="*/ 3542757 h 4251325"/>
              <a:gd name="connsiteX4" fmla="*/ 8452944 w 9161512"/>
              <a:gd name="connsiteY4" fmla="*/ 4251325 h 4251325"/>
              <a:gd name="connsiteX5" fmla="*/ 17512 w 9161512"/>
              <a:gd name="connsiteY5" fmla="*/ 4251325 h 4251325"/>
              <a:gd name="connsiteX6" fmla="*/ 17512 w 9161512"/>
              <a:gd name="connsiteY6" fmla="*/ 4251325 h 4251325"/>
              <a:gd name="connsiteX7" fmla="*/ 17512 w 9161512"/>
              <a:gd name="connsiteY7" fmla="*/ 708568 h 4251325"/>
              <a:gd name="connsiteX8" fmla="*/ 11705 w 9161512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8441308 w 9149876"/>
              <a:gd name="connsiteY4" fmla="*/ 42513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1316608 w 9149876"/>
              <a:gd name="connsiteY4" fmla="*/ 39465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542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23432 w 9156700"/>
              <a:gd name="connsiteY4" fmla="*/ 39465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0 w 9156700"/>
              <a:gd name="connsiteY6" fmla="*/ 4270375 h 4270375"/>
              <a:gd name="connsiteX7" fmla="*/ 12700 w 9156700"/>
              <a:gd name="connsiteY7" fmla="*/ 708568 h 4270375"/>
              <a:gd name="connsiteX8" fmla="*/ 6893 w 9156700"/>
              <a:gd name="connsiteY8" fmla="*/ 9525 h 427037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084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211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57675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13243 w 9163050"/>
              <a:gd name="connsiteY0" fmla="*/ 9525 h 4295946"/>
              <a:gd name="connsiteX1" fmla="*/ 9163050 w 9163050"/>
              <a:gd name="connsiteY1" fmla="*/ 0 h 4295946"/>
              <a:gd name="connsiteX2" fmla="*/ 9163050 w 9163050"/>
              <a:gd name="connsiteY2" fmla="*/ 0 h 4295946"/>
              <a:gd name="connsiteX3" fmla="*/ 9163050 w 9163050"/>
              <a:gd name="connsiteY3" fmla="*/ 3923757 h 4295946"/>
              <a:gd name="connsiteX4" fmla="*/ 1348832 w 9163050"/>
              <a:gd name="connsiteY4" fmla="*/ 3921125 h 4295946"/>
              <a:gd name="connsiteX5" fmla="*/ 1209675 w 9163050"/>
              <a:gd name="connsiteY5" fmla="*/ 4283160 h 4295946"/>
              <a:gd name="connsiteX6" fmla="*/ 0 w 9163050"/>
              <a:gd name="connsiteY6" fmla="*/ 4295946 h 4295946"/>
              <a:gd name="connsiteX7" fmla="*/ 19050 w 9163050"/>
              <a:gd name="connsiteY7" fmla="*/ 708568 h 4295946"/>
              <a:gd name="connsiteX8" fmla="*/ 13243 w 9163050"/>
              <a:gd name="connsiteY8" fmla="*/ 9525 h 4295946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1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2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30693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59604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6812"/>
              <a:gd name="connsiteX1" fmla="*/ 9156700 w 9156700"/>
              <a:gd name="connsiteY1" fmla="*/ 0 h 4276812"/>
              <a:gd name="connsiteX2" fmla="*/ 9156700 w 9156700"/>
              <a:gd name="connsiteY2" fmla="*/ 0 h 4276812"/>
              <a:gd name="connsiteX3" fmla="*/ 9156700 w 9156700"/>
              <a:gd name="connsiteY3" fmla="*/ 3923757 h 4276812"/>
              <a:gd name="connsiteX4" fmla="*/ 1342482 w 9156700"/>
              <a:gd name="connsiteY4" fmla="*/ 3959604 h 4276812"/>
              <a:gd name="connsiteX5" fmla="*/ 1203325 w 9156700"/>
              <a:gd name="connsiteY5" fmla="*/ 4267882 h 4276812"/>
              <a:gd name="connsiteX6" fmla="*/ 0 w 9156700"/>
              <a:gd name="connsiteY6" fmla="*/ 4276812 h 4276812"/>
              <a:gd name="connsiteX7" fmla="*/ 12700 w 9156700"/>
              <a:gd name="connsiteY7" fmla="*/ 708568 h 4276812"/>
              <a:gd name="connsiteX8" fmla="*/ 6893 w 9156700"/>
              <a:gd name="connsiteY8" fmla="*/ 9525 h 427681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69276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54641"/>
              <a:gd name="connsiteY0" fmla="*/ 9525 h 4267882"/>
              <a:gd name="connsiteX1" fmla="*/ 9149876 w 9154641"/>
              <a:gd name="connsiteY1" fmla="*/ 0 h 4267882"/>
              <a:gd name="connsiteX2" fmla="*/ 9149876 w 9154641"/>
              <a:gd name="connsiteY2" fmla="*/ 0 h 4267882"/>
              <a:gd name="connsiteX3" fmla="*/ 9154641 w 9154641"/>
              <a:gd name="connsiteY3" fmla="*/ 3952802 h 4267882"/>
              <a:gd name="connsiteX4" fmla="*/ 1338039 w 9154641"/>
              <a:gd name="connsiteY4" fmla="*/ 3954857 h 4267882"/>
              <a:gd name="connsiteX5" fmla="*/ 1196501 w 9154641"/>
              <a:gd name="connsiteY5" fmla="*/ 4267882 h 4267882"/>
              <a:gd name="connsiteX6" fmla="*/ 2701 w 9154641"/>
              <a:gd name="connsiteY6" fmla="*/ 4264722 h 4267882"/>
              <a:gd name="connsiteX7" fmla="*/ 5876 w 9154641"/>
              <a:gd name="connsiteY7" fmla="*/ 708568 h 4267882"/>
              <a:gd name="connsiteX8" fmla="*/ 69 w 9154641"/>
              <a:gd name="connsiteY8" fmla="*/ 9525 h 4267882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9702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174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0600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7847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19844 w 9150032"/>
              <a:gd name="connsiteY4" fmla="*/ 3967847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5 w 9150032"/>
              <a:gd name="connsiteY4" fmla="*/ 3960599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3115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3115 w 9150032"/>
              <a:gd name="connsiteY5" fmla="*/ 4275168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4831"/>
              <a:gd name="connsiteX1" fmla="*/ 9149876 w 9150032"/>
              <a:gd name="connsiteY1" fmla="*/ 9702 h 4284831"/>
              <a:gd name="connsiteX2" fmla="*/ 9149876 w 9150032"/>
              <a:gd name="connsiteY2" fmla="*/ 89 h 4284831"/>
              <a:gd name="connsiteX3" fmla="*/ 9141983 w 9150032"/>
              <a:gd name="connsiteY3" fmla="*/ 3960138 h 4284831"/>
              <a:gd name="connsiteX4" fmla="*/ 1326965 w 9150032"/>
              <a:gd name="connsiteY4" fmla="*/ 3960599 h 4284831"/>
              <a:gd name="connsiteX5" fmla="*/ 1210742 w 9150032"/>
              <a:gd name="connsiteY5" fmla="*/ 4284831 h 4284831"/>
              <a:gd name="connsiteX6" fmla="*/ 2701 w 9150032"/>
              <a:gd name="connsiteY6" fmla="*/ 4279257 h 4284831"/>
              <a:gd name="connsiteX7" fmla="*/ 5876 w 9150032"/>
              <a:gd name="connsiteY7" fmla="*/ 718270 h 4284831"/>
              <a:gd name="connsiteX8" fmla="*/ 69 w 9150032"/>
              <a:gd name="connsiteY8" fmla="*/ 0 h 4284831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4089"/>
              <a:gd name="connsiteX1" fmla="*/ 9149876 w 9150032"/>
              <a:gd name="connsiteY1" fmla="*/ 9702 h 4284089"/>
              <a:gd name="connsiteX2" fmla="*/ 9149876 w 9150032"/>
              <a:gd name="connsiteY2" fmla="*/ 89 h 4284089"/>
              <a:gd name="connsiteX3" fmla="*/ 9141983 w 9150032"/>
              <a:gd name="connsiteY3" fmla="*/ 3960138 h 4284089"/>
              <a:gd name="connsiteX4" fmla="*/ 1326965 w 9150032"/>
              <a:gd name="connsiteY4" fmla="*/ 3960599 h 4284089"/>
              <a:gd name="connsiteX5" fmla="*/ 1213116 w 9150032"/>
              <a:gd name="connsiteY5" fmla="*/ 4282416 h 4284089"/>
              <a:gd name="connsiteX6" fmla="*/ 2701 w 9150032"/>
              <a:gd name="connsiteY6" fmla="*/ 4284089 h 4284089"/>
              <a:gd name="connsiteX7" fmla="*/ 5876 w 9150032"/>
              <a:gd name="connsiteY7" fmla="*/ 718270 h 4284089"/>
              <a:gd name="connsiteX8" fmla="*/ 69 w 9150032"/>
              <a:gd name="connsiteY8" fmla="*/ 0 h 4284089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5075 w 9150032"/>
              <a:gd name="connsiteY6" fmla="*/ 4281672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5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2219 w 9150032"/>
              <a:gd name="connsiteY4" fmla="*/ 3970263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7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31714 w 9150006"/>
              <a:gd name="connsiteY4" fmla="*/ 3963015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17134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07470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5733 w 9150006"/>
              <a:gd name="connsiteY5" fmla="*/ 4005054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3360 w 9150006"/>
              <a:gd name="connsiteY5" fmla="*/ 4002638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213854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196100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65541"/>
              <a:gd name="connsiteX1" fmla="*/ 9150613 w 9152201"/>
              <a:gd name="connsiteY1" fmla="*/ 9702 h 4265541"/>
              <a:gd name="connsiteX2" fmla="*/ 9150613 w 9152201"/>
              <a:gd name="connsiteY2" fmla="*/ 89 h 4265541"/>
              <a:gd name="connsiteX3" fmla="*/ 9140347 w 9152201"/>
              <a:gd name="connsiteY3" fmla="*/ 3967387 h 4265541"/>
              <a:gd name="connsiteX4" fmla="*/ 1344317 w 9152201"/>
              <a:gd name="connsiteY4" fmla="*/ 3963016 h 4265541"/>
              <a:gd name="connsiteX5" fmla="*/ 1269350 w 9152201"/>
              <a:gd name="connsiteY5" fmla="*/ 4009885 h 4265541"/>
              <a:gd name="connsiteX6" fmla="*/ 1262230 w 9152201"/>
              <a:gd name="connsiteY6" fmla="*/ 4220084 h 4265541"/>
              <a:gd name="connsiteX7" fmla="*/ 1196100 w 9152201"/>
              <a:gd name="connsiteY7" fmla="*/ 4258492 h 4265541"/>
              <a:gd name="connsiteX8" fmla="*/ 4376 w 9152201"/>
              <a:gd name="connsiteY8" fmla="*/ 4265541 h 4265541"/>
              <a:gd name="connsiteX9" fmla="*/ 6613 w 9152201"/>
              <a:gd name="connsiteY9" fmla="*/ 718270 h 4265541"/>
              <a:gd name="connsiteX10" fmla="*/ 806 w 9152201"/>
              <a:gd name="connsiteY10" fmla="*/ 0 h 4265541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75580"/>
              <a:gd name="connsiteX1" fmla="*/ 9150613 w 9152201"/>
              <a:gd name="connsiteY1" fmla="*/ 9702 h 4275580"/>
              <a:gd name="connsiteX2" fmla="*/ 9150613 w 9152201"/>
              <a:gd name="connsiteY2" fmla="*/ 89 h 4275580"/>
              <a:gd name="connsiteX3" fmla="*/ 9140347 w 9152201"/>
              <a:gd name="connsiteY3" fmla="*/ 3967387 h 4275580"/>
              <a:gd name="connsiteX4" fmla="*/ 1344317 w 9152201"/>
              <a:gd name="connsiteY4" fmla="*/ 3963016 h 4275580"/>
              <a:gd name="connsiteX5" fmla="*/ 1269350 w 9152201"/>
              <a:gd name="connsiteY5" fmla="*/ 4009885 h 4275580"/>
              <a:gd name="connsiteX6" fmla="*/ 1262230 w 9152201"/>
              <a:gd name="connsiteY6" fmla="*/ 4220084 h 4275580"/>
              <a:gd name="connsiteX7" fmla="*/ 1173736 w 9152201"/>
              <a:gd name="connsiteY7" fmla="*/ 4268653 h 4275580"/>
              <a:gd name="connsiteX8" fmla="*/ 4376 w 9152201"/>
              <a:gd name="connsiteY8" fmla="*/ 4265541 h 4275580"/>
              <a:gd name="connsiteX9" fmla="*/ 6613 w 9152201"/>
              <a:gd name="connsiteY9" fmla="*/ 718270 h 4275580"/>
              <a:gd name="connsiteX10" fmla="*/ 806 w 9152201"/>
              <a:gd name="connsiteY10" fmla="*/ 0 h 4275580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90821"/>
              <a:gd name="connsiteX1" fmla="*/ 9150613 w 9152201"/>
              <a:gd name="connsiteY1" fmla="*/ 9702 h 4290821"/>
              <a:gd name="connsiteX2" fmla="*/ 9150613 w 9152201"/>
              <a:gd name="connsiteY2" fmla="*/ 89 h 4290821"/>
              <a:gd name="connsiteX3" fmla="*/ 9140347 w 9152201"/>
              <a:gd name="connsiteY3" fmla="*/ 3967387 h 4290821"/>
              <a:gd name="connsiteX4" fmla="*/ 1344317 w 9152201"/>
              <a:gd name="connsiteY4" fmla="*/ 3963016 h 4290821"/>
              <a:gd name="connsiteX5" fmla="*/ 1269350 w 9152201"/>
              <a:gd name="connsiteY5" fmla="*/ 4009885 h 4290821"/>
              <a:gd name="connsiteX6" fmla="*/ 1262230 w 9152201"/>
              <a:gd name="connsiteY6" fmla="*/ 4220084 h 4290821"/>
              <a:gd name="connsiteX7" fmla="*/ 1173736 w 9152201"/>
              <a:gd name="connsiteY7" fmla="*/ 4268653 h 4290821"/>
              <a:gd name="connsiteX8" fmla="*/ 4376 w 9152201"/>
              <a:gd name="connsiteY8" fmla="*/ 4265541 h 4290821"/>
              <a:gd name="connsiteX9" fmla="*/ 6613 w 9152201"/>
              <a:gd name="connsiteY9" fmla="*/ 718270 h 4290821"/>
              <a:gd name="connsiteX10" fmla="*/ 806 w 9152201"/>
              <a:gd name="connsiteY10" fmla="*/ 0 h 4290821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4376 w 9152201"/>
              <a:gd name="connsiteY8" fmla="*/ 4265541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2201"/>
              <a:gd name="connsiteY0" fmla="*/ 0 h 4275702"/>
              <a:gd name="connsiteX1" fmla="*/ 9150613 w 9152201"/>
              <a:gd name="connsiteY1" fmla="*/ 9702 h 4275702"/>
              <a:gd name="connsiteX2" fmla="*/ 9150613 w 9152201"/>
              <a:gd name="connsiteY2" fmla="*/ 89 h 4275702"/>
              <a:gd name="connsiteX3" fmla="*/ 9140347 w 9152201"/>
              <a:gd name="connsiteY3" fmla="*/ 3967387 h 4275702"/>
              <a:gd name="connsiteX4" fmla="*/ 1344317 w 9152201"/>
              <a:gd name="connsiteY4" fmla="*/ 3963016 h 4275702"/>
              <a:gd name="connsiteX5" fmla="*/ 1269350 w 9152201"/>
              <a:gd name="connsiteY5" fmla="*/ 4009885 h 4275702"/>
              <a:gd name="connsiteX6" fmla="*/ 1262230 w 9152201"/>
              <a:gd name="connsiteY6" fmla="*/ 4220084 h 4275702"/>
              <a:gd name="connsiteX7" fmla="*/ 1173736 w 9152201"/>
              <a:gd name="connsiteY7" fmla="*/ 4268653 h 4275702"/>
              <a:gd name="connsiteX8" fmla="*/ 0 w 9152201"/>
              <a:gd name="connsiteY8" fmla="*/ 4275702 h 4275702"/>
              <a:gd name="connsiteX9" fmla="*/ 6613 w 9152201"/>
              <a:gd name="connsiteY9" fmla="*/ 718270 h 4275702"/>
              <a:gd name="connsiteX10" fmla="*/ 806 w 9152201"/>
              <a:gd name="connsiteY10" fmla="*/ 0 h 4275702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0 w 9152201"/>
              <a:gd name="connsiteY8" fmla="*/ 4265542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45123 w 9153007"/>
              <a:gd name="connsiteY4" fmla="*/ 396301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39531 w 9153007"/>
              <a:gd name="connsiteY4" fmla="*/ 3968097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1134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4881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67917"/>
              <a:gd name="connsiteY0" fmla="*/ 0 h 4276230"/>
              <a:gd name="connsiteX1" fmla="*/ 9151419 w 9167917"/>
              <a:gd name="connsiteY1" fmla="*/ 9702 h 4276230"/>
              <a:gd name="connsiteX2" fmla="*/ 9151419 w 9167917"/>
              <a:gd name="connsiteY2" fmla="*/ 89 h 4276230"/>
              <a:gd name="connsiteX3" fmla="*/ 9167917 w 9167917"/>
              <a:gd name="connsiteY3" fmla="*/ 3974881 h 4276230"/>
              <a:gd name="connsiteX4" fmla="*/ 1352489 w 9167917"/>
              <a:gd name="connsiteY4" fmla="*/ 3975946 h 4276230"/>
              <a:gd name="connsiteX5" fmla="*/ 1270156 w 9167917"/>
              <a:gd name="connsiteY5" fmla="*/ 4009885 h 4276230"/>
              <a:gd name="connsiteX6" fmla="*/ 1263036 w 9167917"/>
              <a:gd name="connsiteY6" fmla="*/ 4220084 h 4276230"/>
              <a:gd name="connsiteX7" fmla="*/ 1174542 w 9167917"/>
              <a:gd name="connsiteY7" fmla="*/ 4268653 h 4276230"/>
              <a:gd name="connsiteX8" fmla="*/ 806 w 9167917"/>
              <a:gd name="connsiteY8" fmla="*/ 4265543 h 4276230"/>
              <a:gd name="connsiteX9" fmla="*/ 7419 w 9167917"/>
              <a:gd name="connsiteY9" fmla="*/ 718270 h 4276230"/>
              <a:gd name="connsiteX10" fmla="*/ 806 w 9167917"/>
              <a:gd name="connsiteY10" fmla="*/ 0 h 4276230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6 w 9167917"/>
              <a:gd name="connsiteY8" fmla="*/ 4250555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90722 w 9257833"/>
              <a:gd name="connsiteY0" fmla="*/ 0 h 4268653"/>
              <a:gd name="connsiteX1" fmla="*/ 9241335 w 9257833"/>
              <a:gd name="connsiteY1" fmla="*/ 9702 h 4268653"/>
              <a:gd name="connsiteX2" fmla="*/ 9241335 w 9257833"/>
              <a:gd name="connsiteY2" fmla="*/ 89 h 4268653"/>
              <a:gd name="connsiteX3" fmla="*/ 9257833 w 9257833"/>
              <a:gd name="connsiteY3" fmla="*/ 3974881 h 4268653"/>
              <a:gd name="connsiteX4" fmla="*/ 1442405 w 9257833"/>
              <a:gd name="connsiteY4" fmla="*/ 3975946 h 4268653"/>
              <a:gd name="connsiteX5" fmla="*/ 1360072 w 9257833"/>
              <a:gd name="connsiteY5" fmla="*/ 4009885 h 4268653"/>
              <a:gd name="connsiteX6" fmla="*/ 1352952 w 9257833"/>
              <a:gd name="connsiteY6" fmla="*/ 4220084 h 4268653"/>
              <a:gd name="connsiteX7" fmla="*/ 1264458 w 9257833"/>
              <a:gd name="connsiteY7" fmla="*/ 4268653 h 4268653"/>
              <a:gd name="connsiteX8" fmla="*/ 0 w 9257833"/>
              <a:gd name="connsiteY8" fmla="*/ 4246809 h 4268653"/>
              <a:gd name="connsiteX9" fmla="*/ 97335 w 9257833"/>
              <a:gd name="connsiteY9" fmla="*/ 718270 h 4268653"/>
              <a:gd name="connsiteX10" fmla="*/ 90722 w 9257833"/>
              <a:gd name="connsiteY10" fmla="*/ 0 h 4268653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7 w 9167917"/>
              <a:gd name="connsiteY8" fmla="*/ 4261796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70102 w 9237213"/>
              <a:gd name="connsiteY0" fmla="*/ 0 h 4273036"/>
              <a:gd name="connsiteX1" fmla="*/ 9220715 w 9237213"/>
              <a:gd name="connsiteY1" fmla="*/ 9702 h 4273036"/>
              <a:gd name="connsiteX2" fmla="*/ 9220715 w 9237213"/>
              <a:gd name="connsiteY2" fmla="*/ 89 h 4273036"/>
              <a:gd name="connsiteX3" fmla="*/ 9237213 w 9237213"/>
              <a:gd name="connsiteY3" fmla="*/ 3974881 h 4273036"/>
              <a:gd name="connsiteX4" fmla="*/ 1421785 w 9237213"/>
              <a:gd name="connsiteY4" fmla="*/ 3975946 h 4273036"/>
              <a:gd name="connsiteX5" fmla="*/ 1339452 w 9237213"/>
              <a:gd name="connsiteY5" fmla="*/ 4009885 h 4273036"/>
              <a:gd name="connsiteX6" fmla="*/ 1332332 w 9237213"/>
              <a:gd name="connsiteY6" fmla="*/ 4220084 h 4273036"/>
              <a:gd name="connsiteX7" fmla="*/ 1243838 w 9237213"/>
              <a:gd name="connsiteY7" fmla="*/ 4268653 h 4273036"/>
              <a:gd name="connsiteX8" fmla="*/ 0 w 9237213"/>
              <a:gd name="connsiteY8" fmla="*/ 4273036 h 4273036"/>
              <a:gd name="connsiteX9" fmla="*/ 76715 w 9237213"/>
              <a:gd name="connsiteY9" fmla="*/ 718270 h 4273036"/>
              <a:gd name="connsiteX10" fmla="*/ 70102 w 9237213"/>
              <a:gd name="connsiteY10" fmla="*/ 0 h 4273036"/>
              <a:gd name="connsiteX0" fmla="*/ 53607 w 9220718"/>
              <a:gd name="connsiteY0" fmla="*/ 0 h 4268653"/>
              <a:gd name="connsiteX1" fmla="*/ 9204220 w 9220718"/>
              <a:gd name="connsiteY1" fmla="*/ 9702 h 4268653"/>
              <a:gd name="connsiteX2" fmla="*/ 9204220 w 9220718"/>
              <a:gd name="connsiteY2" fmla="*/ 89 h 4268653"/>
              <a:gd name="connsiteX3" fmla="*/ 9220718 w 9220718"/>
              <a:gd name="connsiteY3" fmla="*/ 3974881 h 4268653"/>
              <a:gd name="connsiteX4" fmla="*/ 1405290 w 9220718"/>
              <a:gd name="connsiteY4" fmla="*/ 3975946 h 4268653"/>
              <a:gd name="connsiteX5" fmla="*/ 1322957 w 9220718"/>
              <a:gd name="connsiteY5" fmla="*/ 4009885 h 4268653"/>
              <a:gd name="connsiteX6" fmla="*/ 1315837 w 9220718"/>
              <a:gd name="connsiteY6" fmla="*/ 4220084 h 4268653"/>
              <a:gd name="connsiteX7" fmla="*/ 1227343 w 9220718"/>
              <a:gd name="connsiteY7" fmla="*/ 4268653 h 4268653"/>
              <a:gd name="connsiteX8" fmla="*/ 0 w 9220718"/>
              <a:gd name="connsiteY8" fmla="*/ 4265542 h 4268653"/>
              <a:gd name="connsiteX9" fmla="*/ 60220 w 9220718"/>
              <a:gd name="connsiteY9" fmla="*/ 718270 h 4268653"/>
              <a:gd name="connsiteX10" fmla="*/ 53607 w 9220718"/>
              <a:gd name="connsiteY10" fmla="*/ 0 h 4268653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27343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06724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17785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1084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8 w 9220718"/>
              <a:gd name="connsiteY0" fmla="*/ 0 h 4271068"/>
              <a:gd name="connsiteX1" fmla="*/ 9204220 w 9220718"/>
              <a:gd name="connsiteY1" fmla="*/ 9701 h 4271068"/>
              <a:gd name="connsiteX2" fmla="*/ 9204220 w 9220718"/>
              <a:gd name="connsiteY2" fmla="*/ 88 h 4271068"/>
              <a:gd name="connsiteX3" fmla="*/ 9220718 w 9220718"/>
              <a:gd name="connsiteY3" fmla="*/ 3974880 h 4271068"/>
              <a:gd name="connsiteX4" fmla="*/ 1405290 w 9220718"/>
              <a:gd name="connsiteY4" fmla="*/ 3975945 h 4271068"/>
              <a:gd name="connsiteX5" fmla="*/ 1322957 w 9220718"/>
              <a:gd name="connsiteY5" fmla="*/ 4009884 h 4271068"/>
              <a:gd name="connsiteX6" fmla="*/ 1315837 w 9220718"/>
              <a:gd name="connsiteY6" fmla="*/ 4220083 h 4271068"/>
              <a:gd name="connsiteX7" fmla="*/ 1210847 w 9220718"/>
              <a:gd name="connsiteY7" fmla="*/ 4268652 h 4271068"/>
              <a:gd name="connsiteX8" fmla="*/ 0 w 9220718"/>
              <a:gd name="connsiteY8" fmla="*/ 4265541 h 4271068"/>
              <a:gd name="connsiteX9" fmla="*/ 60220 w 9220718"/>
              <a:gd name="connsiteY9" fmla="*/ 718269 h 4271068"/>
              <a:gd name="connsiteX10" fmla="*/ 53608 w 9220718"/>
              <a:gd name="connsiteY10" fmla="*/ 0 h 4271068"/>
              <a:gd name="connsiteX0" fmla="*/ 92467 w 9259577"/>
              <a:gd name="connsiteY0" fmla="*/ 0 h 4271068"/>
              <a:gd name="connsiteX1" fmla="*/ 9243079 w 9259577"/>
              <a:gd name="connsiteY1" fmla="*/ 9701 h 4271068"/>
              <a:gd name="connsiteX2" fmla="*/ 9243079 w 9259577"/>
              <a:gd name="connsiteY2" fmla="*/ 88 h 4271068"/>
              <a:gd name="connsiteX3" fmla="*/ 9259577 w 9259577"/>
              <a:gd name="connsiteY3" fmla="*/ 3974880 h 4271068"/>
              <a:gd name="connsiteX4" fmla="*/ 1444149 w 9259577"/>
              <a:gd name="connsiteY4" fmla="*/ 3975945 h 4271068"/>
              <a:gd name="connsiteX5" fmla="*/ 1361816 w 9259577"/>
              <a:gd name="connsiteY5" fmla="*/ 4009884 h 4271068"/>
              <a:gd name="connsiteX6" fmla="*/ 1354696 w 9259577"/>
              <a:gd name="connsiteY6" fmla="*/ 4220083 h 4271068"/>
              <a:gd name="connsiteX7" fmla="*/ 1249706 w 9259577"/>
              <a:gd name="connsiteY7" fmla="*/ 4268652 h 4271068"/>
              <a:gd name="connsiteX8" fmla="*/ 38859 w 9259577"/>
              <a:gd name="connsiteY8" fmla="*/ 4265541 h 4271068"/>
              <a:gd name="connsiteX9" fmla="*/ 4233 w 9259577"/>
              <a:gd name="connsiteY9" fmla="*/ 718269 h 4271068"/>
              <a:gd name="connsiteX10" fmla="*/ 92467 w 9259577"/>
              <a:gd name="connsiteY10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246481 w 9413591"/>
              <a:gd name="connsiteY0" fmla="*/ 0 h 4271068"/>
              <a:gd name="connsiteX1" fmla="*/ 9397093 w 9413591"/>
              <a:gd name="connsiteY1" fmla="*/ 9701 h 4271068"/>
              <a:gd name="connsiteX2" fmla="*/ 9397093 w 9413591"/>
              <a:gd name="connsiteY2" fmla="*/ 88 h 4271068"/>
              <a:gd name="connsiteX3" fmla="*/ 9413591 w 9413591"/>
              <a:gd name="connsiteY3" fmla="*/ 3974880 h 4271068"/>
              <a:gd name="connsiteX4" fmla="*/ 1598163 w 9413591"/>
              <a:gd name="connsiteY4" fmla="*/ 3975945 h 4271068"/>
              <a:gd name="connsiteX5" fmla="*/ 1515830 w 9413591"/>
              <a:gd name="connsiteY5" fmla="*/ 4009884 h 4271068"/>
              <a:gd name="connsiteX6" fmla="*/ 1508710 w 9413591"/>
              <a:gd name="connsiteY6" fmla="*/ 4220083 h 4271068"/>
              <a:gd name="connsiteX7" fmla="*/ 1403720 w 9413591"/>
              <a:gd name="connsiteY7" fmla="*/ 4268652 h 4271068"/>
              <a:gd name="connsiteX8" fmla="*/ 192873 w 9413591"/>
              <a:gd name="connsiteY8" fmla="*/ 4265541 h 4271068"/>
              <a:gd name="connsiteX9" fmla="*/ 246481 w 9413591"/>
              <a:gd name="connsiteY9" fmla="*/ 0 h 4271068"/>
              <a:gd name="connsiteX0" fmla="*/ 64211 w 9231321"/>
              <a:gd name="connsiteY0" fmla="*/ 0 h 4271068"/>
              <a:gd name="connsiteX1" fmla="*/ 9214823 w 9231321"/>
              <a:gd name="connsiteY1" fmla="*/ 9701 h 4271068"/>
              <a:gd name="connsiteX2" fmla="*/ 9214823 w 9231321"/>
              <a:gd name="connsiteY2" fmla="*/ 88 h 4271068"/>
              <a:gd name="connsiteX3" fmla="*/ 9231321 w 9231321"/>
              <a:gd name="connsiteY3" fmla="*/ 3974880 h 4271068"/>
              <a:gd name="connsiteX4" fmla="*/ 1415893 w 9231321"/>
              <a:gd name="connsiteY4" fmla="*/ 3975945 h 4271068"/>
              <a:gd name="connsiteX5" fmla="*/ 1333560 w 9231321"/>
              <a:gd name="connsiteY5" fmla="*/ 4009884 h 4271068"/>
              <a:gd name="connsiteX6" fmla="*/ 1326440 w 9231321"/>
              <a:gd name="connsiteY6" fmla="*/ 4220083 h 4271068"/>
              <a:gd name="connsiteX7" fmla="*/ 1221450 w 9231321"/>
              <a:gd name="connsiteY7" fmla="*/ 4268652 h 4271068"/>
              <a:gd name="connsiteX8" fmla="*/ 10603 w 9231321"/>
              <a:gd name="connsiteY8" fmla="*/ 4265541 h 4271068"/>
              <a:gd name="connsiteX9" fmla="*/ 64211 w 9231321"/>
              <a:gd name="connsiteY9" fmla="*/ 0 h 4271068"/>
              <a:gd name="connsiteX0" fmla="*/ 10604 w 9177714"/>
              <a:gd name="connsiteY0" fmla="*/ 0 h 4276228"/>
              <a:gd name="connsiteX1" fmla="*/ 9161216 w 9177714"/>
              <a:gd name="connsiteY1" fmla="*/ 9701 h 4276228"/>
              <a:gd name="connsiteX2" fmla="*/ 9161216 w 9177714"/>
              <a:gd name="connsiteY2" fmla="*/ 88 h 4276228"/>
              <a:gd name="connsiteX3" fmla="*/ 9177714 w 9177714"/>
              <a:gd name="connsiteY3" fmla="*/ 3974880 h 4276228"/>
              <a:gd name="connsiteX4" fmla="*/ 1362286 w 9177714"/>
              <a:gd name="connsiteY4" fmla="*/ 3975945 h 4276228"/>
              <a:gd name="connsiteX5" fmla="*/ 1279953 w 9177714"/>
              <a:gd name="connsiteY5" fmla="*/ 4009884 h 4276228"/>
              <a:gd name="connsiteX6" fmla="*/ 1272833 w 9177714"/>
              <a:gd name="connsiteY6" fmla="*/ 4220083 h 4276228"/>
              <a:gd name="connsiteX7" fmla="*/ 1167843 w 9177714"/>
              <a:gd name="connsiteY7" fmla="*/ 4268652 h 4276228"/>
              <a:gd name="connsiteX8" fmla="*/ 10603 w 9177714"/>
              <a:gd name="connsiteY8" fmla="*/ 4265541 h 4276228"/>
              <a:gd name="connsiteX9" fmla="*/ 10604 w 9177714"/>
              <a:gd name="connsiteY9" fmla="*/ 0 h 4276228"/>
              <a:gd name="connsiteX0" fmla="*/ 10604 w 9177714"/>
              <a:gd name="connsiteY0" fmla="*/ 0 h 4268609"/>
              <a:gd name="connsiteX1" fmla="*/ 9161216 w 9177714"/>
              <a:gd name="connsiteY1" fmla="*/ 9701 h 4268609"/>
              <a:gd name="connsiteX2" fmla="*/ 9161216 w 9177714"/>
              <a:gd name="connsiteY2" fmla="*/ 88 h 4268609"/>
              <a:gd name="connsiteX3" fmla="*/ 9177714 w 9177714"/>
              <a:gd name="connsiteY3" fmla="*/ 3974880 h 4268609"/>
              <a:gd name="connsiteX4" fmla="*/ 1362286 w 9177714"/>
              <a:gd name="connsiteY4" fmla="*/ 3975945 h 4268609"/>
              <a:gd name="connsiteX5" fmla="*/ 1279953 w 9177714"/>
              <a:gd name="connsiteY5" fmla="*/ 4009884 h 4268609"/>
              <a:gd name="connsiteX6" fmla="*/ 1272833 w 9177714"/>
              <a:gd name="connsiteY6" fmla="*/ 4220083 h 4268609"/>
              <a:gd name="connsiteX7" fmla="*/ 1206981 w 9177714"/>
              <a:gd name="connsiteY7" fmla="*/ 4261033 h 4268609"/>
              <a:gd name="connsiteX8" fmla="*/ 10603 w 9177714"/>
              <a:gd name="connsiteY8" fmla="*/ 4265541 h 4268609"/>
              <a:gd name="connsiteX9" fmla="*/ 10604 w 9177714"/>
              <a:gd name="connsiteY9" fmla="*/ 0 h 4268609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184616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8698"/>
              <a:gd name="connsiteX1" fmla="*/ 9161216 w 9177714"/>
              <a:gd name="connsiteY1" fmla="*/ 9701 h 4268698"/>
              <a:gd name="connsiteX2" fmla="*/ 9161216 w 9177714"/>
              <a:gd name="connsiteY2" fmla="*/ 88 h 4268698"/>
              <a:gd name="connsiteX3" fmla="*/ 9177714 w 9177714"/>
              <a:gd name="connsiteY3" fmla="*/ 3974880 h 4268698"/>
              <a:gd name="connsiteX4" fmla="*/ 1362286 w 9177714"/>
              <a:gd name="connsiteY4" fmla="*/ 3975945 h 4268698"/>
              <a:gd name="connsiteX5" fmla="*/ 1279953 w 9177714"/>
              <a:gd name="connsiteY5" fmla="*/ 4009884 h 4268698"/>
              <a:gd name="connsiteX6" fmla="*/ 1272833 w 9177714"/>
              <a:gd name="connsiteY6" fmla="*/ 4197223 h 4268698"/>
              <a:gd name="connsiteX7" fmla="*/ 1173434 w 9177714"/>
              <a:gd name="connsiteY7" fmla="*/ 4266113 h 4268698"/>
              <a:gd name="connsiteX8" fmla="*/ 10603 w 9177714"/>
              <a:gd name="connsiteY8" fmla="*/ 4265541 h 4268698"/>
              <a:gd name="connsiteX9" fmla="*/ 10604 w 9177714"/>
              <a:gd name="connsiteY9" fmla="*/ 0 h 42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77714" h="4268698">
                <a:moveTo>
                  <a:pt x="10604" y="0"/>
                </a:moveTo>
                <a:lnTo>
                  <a:pt x="9161216" y="9701"/>
                </a:lnTo>
                <a:lnTo>
                  <a:pt x="9161216" y="88"/>
                </a:lnTo>
                <a:cubicBezTo>
                  <a:pt x="9162804" y="1317689"/>
                  <a:pt x="9176126" y="2657279"/>
                  <a:pt x="9177714" y="3974880"/>
                </a:cubicBezTo>
                <a:lnTo>
                  <a:pt x="1362286" y="3975945"/>
                </a:lnTo>
                <a:cubicBezTo>
                  <a:pt x="1324129" y="3980616"/>
                  <a:pt x="1294862" y="3973004"/>
                  <a:pt x="1279953" y="4009884"/>
                </a:cubicBezTo>
                <a:cubicBezTo>
                  <a:pt x="1265044" y="4046764"/>
                  <a:pt x="1276941" y="4145761"/>
                  <a:pt x="1272833" y="4197223"/>
                </a:cubicBezTo>
                <a:cubicBezTo>
                  <a:pt x="1272365" y="4244226"/>
                  <a:pt x="1221664" y="4268698"/>
                  <a:pt x="1173434" y="4266113"/>
                </a:cubicBezTo>
                <a:lnTo>
                  <a:pt x="10603" y="4265541"/>
                </a:lnTo>
                <a:cubicBezTo>
                  <a:pt x="0" y="3520977"/>
                  <a:pt x="7635" y="788799"/>
                  <a:pt x="10604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 hasCustomPrompt="1"/>
          </p:nvPr>
        </p:nvSpPr>
        <p:spPr>
          <a:xfrm>
            <a:off x="1619250" y="404870"/>
            <a:ext cx="6935788" cy="668338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 err="1"/>
              <a:t>Chapter</a:t>
            </a:r>
            <a:r>
              <a:rPr lang="sv-SE" dirty="0"/>
              <a:t> </a:t>
            </a:r>
            <a:r>
              <a:rPr lang="sv-SE" dirty="0" err="1"/>
              <a:t>heading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endParaRPr lang="sv-SE" dirty="0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314480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1619250" y="1582738"/>
            <a:ext cx="6935788" cy="4078287"/>
          </a:xfrm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endParaRPr lang="sv-SE" dirty="0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392401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7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462742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 dirty="0"/>
              <a:t>Klicka här för att ändra format</a:t>
            </a:r>
            <a:endParaRPr lang="en-GB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1619250" y="1582739"/>
            <a:ext cx="6935788" cy="40782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1619250" y="6308725"/>
            <a:ext cx="2895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8172399" y="6308725"/>
            <a:ext cx="531863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fld id="{680D72F4-1C41-4187-A4BC-492CF086CF40}" type="slidenum">
              <a:rPr lang="en-GB" smtClean="0"/>
              <a:pPr>
                <a:lnSpc>
                  <a:spcPts val="900"/>
                </a:lnSpc>
              </a:pPr>
              <a:t>‹#›</a:t>
            </a:fld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5580112" y="6288509"/>
            <a:ext cx="2133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 algn="r">
              <a:lnSpc>
                <a:spcPts val="900"/>
              </a:lnSpc>
            </a:pPr>
            <a:endParaRPr lang="en-GB" dirty="0"/>
          </a:p>
        </p:txBody>
      </p:sp>
      <p:sp>
        <p:nvSpPr>
          <p:cNvPr id="9" name="Rektangel 12"/>
          <p:cNvSpPr/>
          <p:nvPr/>
        </p:nvSpPr>
        <p:spPr>
          <a:xfrm>
            <a:off x="0" y="5971378"/>
            <a:ext cx="9144000" cy="908720"/>
          </a:xfrm>
          <a:custGeom>
            <a:avLst/>
            <a:gdLst>
              <a:gd name="connsiteX0" fmla="*/ 1360291 w 9144000"/>
              <a:gd name="connsiteY0" fmla="*/ 0 h 908720"/>
              <a:gd name="connsiteX1" fmla="*/ 9144000 w 9144000"/>
              <a:gd name="connsiteY1" fmla="*/ 0 h 908720"/>
              <a:gd name="connsiteX2" fmla="*/ 9144000 w 9144000"/>
              <a:gd name="connsiteY2" fmla="*/ 262632 h 908720"/>
              <a:gd name="connsiteX3" fmla="*/ 9144000 w 9144000"/>
              <a:gd name="connsiteY3" fmla="*/ 328588 h 908720"/>
              <a:gd name="connsiteX4" fmla="*/ 9144000 w 9144000"/>
              <a:gd name="connsiteY4" fmla="*/ 808061 h 908720"/>
              <a:gd name="connsiteX5" fmla="*/ 9144000 w 9144000"/>
              <a:gd name="connsiteY5" fmla="*/ 883320 h 908720"/>
              <a:gd name="connsiteX6" fmla="*/ 9144000 w 9144000"/>
              <a:gd name="connsiteY6" fmla="*/ 904652 h 908720"/>
              <a:gd name="connsiteX7" fmla="*/ 9065179 w 9144000"/>
              <a:gd name="connsiteY7" fmla="*/ 904652 h 908720"/>
              <a:gd name="connsiteX8" fmla="*/ 9043341 w 9144000"/>
              <a:gd name="connsiteY8" fmla="*/ 908720 h 908720"/>
              <a:gd name="connsiteX9" fmla="*/ 1259632 w 9144000"/>
              <a:gd name="connsiteY9" fmla="*/ 908720 h 908720"/>
              <a:gd name="connsiteX10" fmla="*/ 1259632 w 9144000"/>
              <a:gd name="connsiteY10" fmla="*/ 904652 h 908720"/>
              <a:gd name="connsiteX11" fmla="*/ 0 w 9144000"/>
              <a:gd name="connsiteY11" fmla="*/ 904652 h 908720"/>
              <a:gd name="connsiteX12" fmla="*/ 0 w 9144000"/>
              <a:gd name="connsiteY12" fmla="*/ 883320 h 908720"/>
              <a:gd name="connsiteX13" fmla="*/ 0 w 9144000"/>
              <a:gd name="connsiteY13" fmla="*/ 328588 h 908720"/>
              <a:gd name="connsiteX14" fmla="*/ 0 w 9144000"/>
              <a:gd name="connsiteY14" fmla="*/ 314003 h 908720"/>
              <a:gd name="connsiteX15" fmla="*/ 901401 w 9144000"/>
              <a:gd name="connsiteY15" fmla="*/ 314003 h 908720"/>
              <a:gd name="connsiteX16" fmla="*/ 1026319 w 9144000"/>
              <a:gd name="connsiteY16" fmla="*/ 314003 h 908720"/>
              <a:gd name="connsiteX17" fmla="*/ 1194387 w 9144000"/>
              <a:gd name="connsiteY17" fmla="*/ 314003 h 908720"/>
              <a:gd name="connsiteX18" fmla="*/ 1258275 w 9144000"/>
              <a:gd name="connsiteY18" fmla="*/ 262632 h 908720"/>
              <a:gd name="connsiteX19" fmla="*/ 1259632 w 9144000"/>
              <a:gd name="connsiteY19" fmla="*/ 262632 h 908720"/>
              <a:gd name="connsiteX20" fmla="*/ 1259632 w 9144000"/>
              <a:gd name="connsiteY20" fmla="*/ 255909 h 908720"/>
              <a:gd name="connsiteX21" fmla="*/ 1261441 w 9144000"/>
              <a:gd name="connsiteY21" fmla="*/ 246949 h 908720"/>
              <a:gd name="connsiteX22" fmla="*/ 1261441 w 9144000"/>
              <a:gd name="connsiteY22" fmla="*/ 91699 h 908720"/>
              <a:gd name="connsiteX23" fmla="*/ 1360291 w 9144000"/>
              <a:gd name="connsiteY23" fmla="*/ 0 h 908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9144000" h="908720">
                <a:moveTo>
                  <a:pt x="1360291" y="0"/>
                </a:moveTo>
                <a:lnTo>
                  <a:pt x="9144000" y="0"/>
                </a:lnTo>
                <a:lnTo>
                  <a:pt x="9144000" y="262632"/>
                </a:lnTo>
                <a:lnTo>
                  <a:pt x="9144000" y="328588"/>
                </a:lnTo>
                <a:lnTo>
                  <a:pt x="9144000" y="808061"/>
                </a:lnTo>
                <a:lnTo>
                  <a:pt x="9144000" y="883320"/>
                </a:lnTo>
                <a:lnTo>
                  <a:pt x="9144000" y="904652"/>
                </a:lnTo>
                <a:lnTo>
                  <a:pt x="9065179" y="904652"/>
                </a:lnTo>
                <a:cubicBezTo>
                  <a:pt x="9058414" y="907870"/>
                  <a:pt x="9050977" y="908720"/>
                  <a:pt x="9043341" y="908720"/>
                </a:cubicBezTo>
                <a:lnTo>
                  <a:pt x="1259632" y="908720"/>
                </a:lnTo>
                <a:lnTo>
                  <a:pt x="1259632" y="904652"/>
                </a:lnTo>
                <a:lnTo>
                  <a:pt x="0" y="904652"/>
                </a:lnTo>
                <a:lnTo>
                  <a:pt x="0" y="883320"/>
                </a:lnTo>
                <a:lnTo>
                  <a:pt x="0" y="328588"/>
                </a:lnTo>
                <a:lnTo>
                  <a:pt x="0" y="314003"/>
                </a:lnTo>
                <a:lnTo>
                  <a:pt x="901401" y="314003"/>
                </a:lnTo>
                <a:lnTo>
                  <a:pt x="1026319" y="314003"/>
                </a:lnTo>
                <a:lnTo>
                  <a:pt x="1194387" y="314003"/>
                </a:lnTo>
                <a:cubicBezTo>
                  <a:pt x="1225910" y="314003"/>
                  <a:pt x="1252353" y="292251"/>
                  <a:pt x="1258275" y="262632"/>
                </a:cubicBezTo>
                <a:lnTo>
                  <a:pt x="1259632" y="262632"/>
                </a:lnTo>
                <a:lnTo>
                  <a:pt x="1259632" y="255909"/>
                </a:lnTo>
                <a:lnTo>
                  <a:pt x="1261441" y="246949"/>
                </a:lnTo>
                <a:lnTo>
                  <a:pt x="1261441" y="91699"/>
                </a:lnTo>
                <a:cubicBezTo>
                  <a:pt x="1264629" y="40239"/>
                  <a:pt x="1260136" y="0"/>
                  <a:pt x="13602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1305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66" r:id="rId2"/>
    <p:sldLayoutId id="2147483677" r:id="rId3"/>
    <p:sldLayoutId id="2147483668" r:id="rId4"/>
    <p:sldLayoutId id="2147483669" r:id="rId5"/>
    <p:sldLayoutId id="2147483670" r:id="rId6"/>
    <p:sldLayoutId id="2147483674" r:id="rId7"/>
    <p:sldLayoutId id="2147483672" r:id="rId8"/>
    <p:sldLayoutId id="2147483673" r:id="rId9"/>
    <p:sldLayoutId id="2147483665" r:id="rId10"/>
    <p:sldLayoutId id="2147483679" r:id="rId11"/>
    <p:sldLayoutId id="2147483680" r:id="rId12"/>
  </p:sldLayoutIdLst>
  <p:hf hdr="0" ftr="0" dt="0"/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3556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23900" indent="-3683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352425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35113" indent="-4572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260.png"/><Relationship Id="rId4" Type="http://schemas.openxmlformats.org/officeDocument/2006/relationships/image" Target="../media/image45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png"/><Relationship Id="rId18" Type="http://schemas.openxmlformats.org/officeDocument/2006/relationships/image" Target="../media/image27.png"/><Relationship Id="rId26" Type="http://schemas.openxmlformats.org/officeDocument/2006/relationships/image" Target="../media/image28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17" Type="http://schemas.openxmlformats.org/officeDocument/2006/relationships/image" Target="../media/image26.png"/><Relationship Id="rId25" Type="http://schemas.openxmlformats.org/officeDocument/2006/relationships/image" Target="../media/image41.png"/><Relationship Id="rId2" Type="http://schemas.openxmlformats.org/officeDocument/2006/relationships/image" Target="../media/image11.png"/><Relationship Id="rId16" Type="http://schemas.openxmlformats.org/officeDocument/2006/relationships/image" Target="../media/image25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image" Target="../media/image14.png"/><Relationship Id="rId15" Type="http://schemas.openxmlformats.org/officeDocument/2006/relationships/image" Target="../media/image24.pn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Relationship Id="rId14" Type="http://schemas.openxmlformats.org/officeDocument/2006/relationships/image" Target="../media/image23.png"/><Relationship Id="rId27" Type="http://schemas.openxmlformats.org/officeDocument/2006/relationships/image" Target="../media/image4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120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0.png"/><Relationship Id="rId2" Type="http://schemas.openxmlformats.org/officeDocument/2006/relationships/image" Target="../media/image150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10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3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0.png"/><Relationship Id="rId3" Type="http://schemas.openxmlformats.org/officeDocument/2006/relationships/image" Target="../media/image35.png"/><Relationship Id="rId7" Type="http://schemas.openxmlformats.org/officeDocument/2006/relationships/image" Target="../media/image35.gif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6.png"/><Relationship Id="rId5" Type="http://schemas.openxmlformats.org/officeDocument/2006/relationships/image" Target="../media/image220.png"/><Relationship Id="rId4" Type="http://schemas.openxmlformats.org/officeDocument/2006/relationships/image" Target="../media/image2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05718" y="1561231"/>
            <a:ext cx="7271015" cy="1043684"/>
          </a:xfrm>
        </p:spPr>
        <p:txBody>
          <a:bodyPr>
            <a:normAutofit fontScale="90000"/>
          </a:bodyPr>
          <a:lstStyle/>
          <a:p>
            <a:pPr algn="ctr"/>
            <a:r>
              <a:rPr lang="en-US" sz="3100" dirty="0"/>
              <a:t>Applied Vehicle Dynamics Control </a:t>
            </a:r>
            <a:br>
              <a:rPr lang="en-US" sz="3100" dirty="0"/>
            </a:br>
            <a:r>
              <a:rPr lang="en-US" sz="3100" dirty="0"/>
              <a:t>SD2231</a:t>
            </a:r>
            <a:br>
              <a:rPr lang="en-US" dirty="0"/>
            </a:br>
            <a:br>
              <a:rPr lang="en-US" dirty="0"/>
            </a:br>
            <a:r>
              <a:rPr lang="en-US" sz="2200" dirty="0"/>
              <a:t>Lab 3</a:t>
            </a:r>
            <a:endParaRPr lang="sv-SE" sz="22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67963" y="2436892"/>
            <a:ext cx="6987075" cy="936104"/>
          </a:xfrm>
        </p:spPr>
        <p:txBody>
          <a:bodyPr>
            <a:normAutofit fontScale="25000" lnSpcReduction="20000"/>
          </a:bodyPr>
          <a:lstStyle/>
          <a:p>
            <a:endParaRPr lang="en-US" sz="2400" dirty="0"/>
          </a:p>
          <a:p>
            <a:r>
              <a:rPr lang="en-US" sz="7200" dirty="0"/>
              <a:t>Alireza Qazizadeh</a:t>
            </a:r>
          </a:p>
          <a:p>
            <a:r>
              <a:rPr lang="en-US" sz="7200" dirty="0"/>
              <a:t>April 28, 2020</a:t>
            </a:r>
            <a:endParaRPr lang="sv-SE" sz="7200" dirty="0"/>
          </a:p>
        </p:txBody>
      </p:sp>
    </p:spTree>
    <p:extLst>
      <p:ext uri="{BB962C8B-B14F-4D97-AF65-F5344CB8AC3E}">
        <p14:creationId xmlns:p14="http://schemas.microsoft.com/office/powerpoint/2010/main" val="10141450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sz="2800" dirty="0"/>
              <a:t>Control of a single degree of freedom (SDOF) system</a:t>
            </a:r>
            <a:endParaRPr lang="sv-SE" sz="2800" dirty="0"/>
          </a:p>
        </p:txBody>
      </p:sp>
      <p:pic>
        <p:nvPicPr>
          <p:cNvPr id="4" name="Picture 3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3842" y="1519580"/>
            <a:ext cx="1637180" cy="1508472"/>
          </a:xfrm>
          <a:prstGeom prst="rect">
            <a:avLst/>
          </a:prstGeom>
          <a:noFill/>
        </p:spPr>
      </p:pic>
      <p:pic>
        <p:nvPicPr>
          <p:cNvPr id="5" name="Picture 4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2414" y="1192913"/>
            <a:ext cx="2199968" cy="1863060"/>
          </a:xfrm>
          <a:prstGeom prst="rect">
            <a:avLst/>
          </a:prstGeom>
          <a:noFill/>
        </p:spPr>
      </p:pic>
      <p:sp>
        <p:nvSpPr>
          <p:cNvPr id="6" name="TextBox 5"/>
          <p:cNvSpPr txBox="1"/>
          <p:nvPr/>
        </p:nvSpPr>
        <p:spPr>
          <a:xfrm>
            <a:off x="1818685" y="3321858"/>
            <a:ext cx="187220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assive</a:t>
            </a:r>
          </a:p>
          <a:p>
            <a:pPr marL="285750" indent="-28575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dirty="0"/>
              <a:t>Damped</a:t>
            </a:r>
          </a:p>
          <a:p>
            <a:pPr marL="285750" indent="-28575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dirty="0"/>
              <a:t>Undamped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742414" y="3321858"/>
            <a:ext cx="187220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ctive</a:t>
            </a:r>
          </a:p>
          <a:p>
            <a:pPr marL="285750" indent="-28575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dirty="0"/>
              <a:t>PD</a:t>
            </a:r>
          </a:p>
          <a:p>
            <a:pPr marL="285750" indent="-28575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dirty="0"/>
              <a:t>PID</a:t>
            </a:r>
          </a:p>
          <a:p>
            <a:pPr marL="285750" indent="-28575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dirty="0"/>
              <a:t>Skyhook</a:t>
            </a:r>
            <a:endParaRPr lang="sv-SE" dirty="0"/>
          </a:p>
        </p:txBody>
      </p:sp>
      <p:sp>
        <p:nvSpPr>
          <p:cNvPr id="8" name="TextBox 7"/>
          <p:cNvSpPr txBox="1"/>
          <p:nvPr/>
        </p:nvSpPr>
        <p:spPr>
          <a:xfrm>
            <a:off x="971600" y="4667908"/>
            <a:ext cx="799288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GB" dirty="0"/>
              <a:t>Excitation:</a:t>
            </a:r>
          </a:p>
          <a:p>
            <a:pPr marL="285750" lvl="0" indent="-28575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GB" dirty="0"/>
              <a:t>Sinusoidal excitation (compare with frequency response function)</a:t>
            </a:r>
            <a:endParaRPr lang="sv-SE" dirty="0"/>
          </a:p>
          <a:p>
            <a:pPr marL="285750" lvl="0" indent="-28575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GB" dirty="0"/>
              <a:t>Impulse response</a:t>
            </a:r>
            <a:endParaRPr lang="sv-SE" dirty="0"/>
          </a:p>
          <a:p>
            <a:pPr marL="285750" lvl="0" indent="-28575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GB" dirty="0"/>
              <a:t>Response to track excitation (PSD)</a:t>
            </a:r>
            <a:endParaRPr lang="sv-S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00EA7-DA1B-4E6D-8870-707C2883C942}" type="slidenum">
              <a:rPr lang="sv-SE" smtClean="0"/>
              <a:t>10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694200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sz="2800" dirty="0"/>
              <a:t>Control of a 2 degrees of freedom system</a:t>
            </a:r>
            <a:endParaRPr lang="sv-SE" sz="2800" dirty="0"/>
          </a:p>
        </p:txBody>
      </p:sp>
      <p:pic>
        <p:nvPicPr>
          <p:cNvPr id="5" name="Picture 4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7003" y="1675079"/>
            <a:ext cx="1706880" cy="2359660"/>
          </a:xfrm>
          <a:prstGeom prst="rect">
            <a:avLst/>
          </a:prstGeom>
          <a:noFill/>
        </p:spPr>
      </p:pic>
      <p:sp>
        <p:nvSpPr>
          <p:cNvPr id="6" name="TextBox 5"/>
          <p:cNvSpPr txBox="1"/>
          <p:nvPr/>
        </p:nvSpPr>
        <p:spPr>
          <a:xfrm>
            <a:off x="1547664" y="4442627"/>
            <a:ext cx="18722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assive</a:t>
            </a:r>
          </a:p>
          <a:p>
            <a:pPr marL="285750" indent="-28575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dirty="0"/>
              <a:t>Damped</a:t>
            </a:r>
          </a:p>
        </p:txBody>
      </p:sp>
      <p:pic>
        <p:nvPicPr>
          <p:cNvPr id="7" name="Picture 6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1395879"/>
            <a:ext cx="2316480" cy="2773680"/>
          </a:xfrm>
          <a:prstGeom prst="rect">
            <a:avLst/>
          </a:prstGeom>
          <a:noFill/>
        </p:spPr>
      </p:pic>
      <p:sp>
        <p:nvSpPr>
          <p:cNvPr id="8" name="TextBox 7"/>
          <p:cNvSpPr txBox="1"/>
          <p:nvPr/>
        </p:nvSpPr>
        <p:spPr>
          <a:xfrm>
            <a:off x="5016272" y="4581126"/>
            <a:ext cx="18722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ctive</a:t>
            </a:r>
          </a:p>
          <a:p>
            <a:pPr marL="285750" indent="-28575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dirty="0"/>
              <a:t>Skyhook</a:t>
            </a:r>
            <a:endParaRPr lang="sv-S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00EA7-DA1B-4E6D-8870-707C2883C942}" type="slidenum">
              <a:rPr lang="sv-SE" smtClean="0"/>
              <a:t>11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9911752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Title 1"/>
              <p:cNvSpPr>
                <a:spLocks noGrp="1"/>
              </p:cNvSpPr>
              <p:nvPr>
                <p:ph type="title"/>
              </p:nvPr>
            </p:nvSpPr>
            <p:spPr>
              <a:xfrm>
                <a:off x="1627271" y="444976"/>
                <a:ext cx="6935788" cy="668338"/>
              </a:xfrm>
            </p:spPr>
            <p:txBody>
              <a:bodyPr>
                <a:noAutofit/>
              </a:bodyPr>
              <a:lstStyle/>
              <a:p>
                <a:pPr lvl="2" algn="l" rtl="0">
                  <a:spcBef>
                    <a:spcPct val="0"/>
                  </a:spcBef>
                </a:pPr>
                <a:r>
                  <a:rPr lang="en-GB" sz="2500" b="1" kern="1200" dirty="0">
                    <a:solidFill>
                      <a:schemeClr val="tx1"/>
                    </a:solidFill>
                    <a:latin typeface="+mj-lt"/>
                    <a:ea typeface="+mj-ea"/>
                    <a:cs typeface="+mj-cs"/>
                  </a:rPr>
                  <a:t>Control of bounce and pitch using Skyhook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sv-SE" sz="2500" b="1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j-ea"/>
                            <a:cs typeface="+mj-cs"/>
                          </a:rPr>
                        </m:ctrlPr>
                      </m:sSubPr>
                      <m:e>
                        <m:r>
                          <a:rPr lang="en-GB" sz="2500" b="1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j-ea"/>
                            <a:cs typeface="+mj-cs"/>
                          </a:rPr>
                          <m:t>𝑯</m:t>
                        </m:r>
                      </m:e>
                      <m:sub>
                        <m:r>
                          <a:rPr lang="en-GB" sz="2500" b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j-ea"/>
                            <a:cs typeface="+mj-cs"/>
                          </a:rPr>
                          <m:t>∞</m:t>
                        </m:r>
                      </m:sub>
                    </m:sSub>
                  </m:oMath>
                </a14:m>
                <a:endParaRPr lang="sv-SE" sz="2500" b="1" dirty="0">
                  <a:latin typeface="+mj-lt"/>
                </a:endParaRPr>
              </a:p>
            </p:txBody>
          </p:sp>
        </mc:Choice>
        <mc:Fallback xmlns="">
          <p:sp>
            <p:nvSpPr>
              <p:cNvPr id="2" name="Title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xfrm>
                <a:off x="1627271" y="444976"/>
                <a:ext cx="6935788" cy="668338"/>
              </a:xfrm>
              <a:blipFill>
                <a:blip r:embed="rId2"/>
                <a:stretch>
                  <a:fillRect l="-2812" t="-27273" b="-2818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4" name="Picture 3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064" y="1086585"/>
            <a:ext cx="3773805" cy="2304415"/>
          </a:xfrm>
          <a:prstGeom prst="rect">
            <a:avLst/>
          </a:prstGeom>
          <a:noFill/>
        </p:spPr>
      </p:pic>
      <p:sp>
        <p:nvSpPr>
          <p:cNvPr id="5" name="TextBox 4"/>
          <p:cNvSpPr txBox="1"/>
          <p:nvPr/>
        </p:nvSpPr>
        <p:spPr>
          <a:xfrm>
            <a:off x="5411488" y="1660158"/>
            <a:ext cx="20162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assive system</a:t>
            </a:r>
            <a:endParaRPr lang="sv-SE" dirty="0"/>
          </a:p>
        </p:txBody>
      </p:sp>
      <p:pic>
        <p:nvPicPr>
          <p:cNvPr id="6" name="Picture 5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5097" y="3488905"/>
            <a:ext cx="5273675" cy="2438400"/>
          </a:xfrm>
          <a:prstGeom prst="rect">
            <a:avLst/>
          </a:prstGeom>
          <a:noFill/>
        </p:spPr>
      </p:pic>
      <p:cxnSp>
        <p:nvCxnSpPr>
          <p:cNvPr id="8" name="Straight Arrow Connector 7"/>
          <p:cNvCxnSpPr/>
          <p:nvPr/>
        </p:nvCxnSpPr>
        <p:spPr>
          <a:xfrm>
            <a:off x="4644008" y="1844824"/>
            <a:ext cx="648072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 flipH="1">
            <a:off x="2621966" y="4587970"/>
            <a:ext cx="581773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683568" y="4365104"/>
                <a:ext cx="2340260" cy="9233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/>
                  <a:t>Active system</a:t>
                </a:r>
              </a:p>
              <a:p>
                <a:pPr marL="285750" indent="-285750">
                  <a:buClr>
                    <a:schemeClr val="accent6"/>
                  </a:buClr>
                  <a:buFont typeface="Arial" panose="020B0604020202020204" pitchFamily="34" charset="0"/>
                  <a:buChar char="•"/>
                </a:pPr>
                <a:r>
                  <a:rPr lang="en-US" dirty="0"/>
                  <a:t>Skyhook</a:t>
                </a:r>
              </a:p>
              <a:p>
                <a:pPr marL="285750" indent="-285750">
                  <a:buClr>
                    <a:schemeClr val="accent6"/>
                  </a:buClr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sv-S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GB">
                            <a:latin typeface="Cambria Math"/>
                          </a:rPr>
                          <m:t>H</m:t>
                        </m:r>
                      </m:e>
                      <m:sub>
                        <m:r>
                          <a:rPr lang="en-GB">
                            <a:latin typeface="Cambria Math"/>
                          </a:rPr>
                          <m:t>∞</m:t>
                        </m:r>
                      </m:sub>
                    </m:sSub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3568" y="4365104"/>
                <a:ext cx="2340260" cy="923330"/>
              </a:xfrm>
              <a:prstGeom prst="rect">
                <a:avLst/>
              </a:prstGeom>
              <a:blipFill rotWithShape="1">
                <a:blip r:embed="rId5"/>
                <a:stretch>
                  <a:fillRect l="-2083" t="-3289" b="-7237"/>
                </a:stretch>
              </a:blipFill>
            </p:spPr>
            <p:txBody>
              <a:bodyPr/>
              <a:lstStyle/>
              <a:p>
                <a:r>
                  <a:rPr lang="sv-S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00EA7-DA1B-4E6D-8870-707C2883C942}" type="slidenum">
              <a:rPr lang="sv-SE" smtClean="0"/>
              <a:t>12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2069900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lvl="1" algn="l" rtl="0">
              <a:spcBef>
                <a:spcPct val="0"/>
              </a:spcBef>
            </a:pPr>
            <a:br>
              <a:rPr lang="en-GB" sz="2500" b="1" dirty="0">
                <a:latin typeface="+mj-lt"/>
              </a:rPr>
            </a:br>
            <a:r>
              <a:rPr lang="en-GB" sz="2500" b="1" dirty="0">
                <a:latin typeface="+mj-lt"/>
              </a:rPr>
              <a:t>Report writing</a:t>
            </a:r>
            <a:endParaRPr lang="sv-SE" sz="2500" b="1" dirty="0">
              <a:latin typeface="+mj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342900" indent="-34290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70C0"/>
                </a:solidFill>
              </a:rPr>
              <a:t>Good report: </a:t>
            </a:r>
            <a:r>
              <a:rPr lang="en-US" dirty="0"/>
              <a:t>information needed for the reader to understand the results and nothing more. </a:t>
            </a:r>
          </a:p>
          <a:p>
            <a:pPr marL="342900" indent="-34290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dirty="0"/>
              <a:t>Start working with the report from the start by writing down each of the steps you have done.</a:t>
            </a:r>
          </a:p>
          <a:p>
            <a:pPr marL="342900" indent="-34290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dirty="0"/>
              <a:t>Including the approach, gathered information and the rationale of each of the steps. </a:t>
            </a:r>
          </a:p>
          <a:p>
            <a:pPr>
              <a:buClr>
                <a:srgbClr val="FF0000"/>
              </a:buClr>
            </a:pPr>
            <a:r>
              <a:rPr lang="en-GB" dirty="0"/>
              <a:t> </a:t>
            </a:r>
            <a:endParaRPr lang="sv-SE" dirty="0"/>
          </a:p>
          <a:p>
            <a:endParaRPr lang="en-GB" b="1" dirty="0"/>
          </a:p>
          <a:p>
            <a:pPr>
              <a:buClr>
                <a:srgbClr val="FF0000"/>
              </a:buClr>
            </a:pPr>
            <a:r>
              <a:rPr lang="en-GB" sz="1600" b="1" dirty="0"/>
              <a:t>-Do not forget to answer the questions in the handout!</a:t>
            </a:r>
            <a:endParaRPr lang="sv-SE" sz="1600" dirty="0"/>
          </a:p>
          <a:p>
            <a:pPr>
              <a:buClr>
                <a:srgbClr val="FF0000"/>
              </a:buClr>
            </a:pPr>
            <a:r>
              <a:rPr lang="en-GB" sz="1600" b="1" dirty="0"/>
              <a:t>-You should use the template on Canvas for your final report.</a:t>
            </a:r>
            <a:endParaRPr lang="sv-SE" sz="1600" b="1" dirty="0"/>
          </a:p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00EA7-DA1B-4E6D-8870-707C2883C942}" type="slidenum">
              <a:rPr lang="sv-SE" smtClean="0"/>
              <a:t>13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59451442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Notes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rgbClr val="0070C0"/>
                </a:solidFill>
              </a:rPr>
              <a:t>Teachers supporting this Lab:</a:t>
            </a:r>
            <a:r>
              <a:rPr lang="sv-SE" sz="1800" dirty="0"/>
              <a:t>  </a:t>
            </a:r>
          </a:p>
          <a:p>
            <a:r>
              <a:rPr lang="sv-SE" sz="1800" dirty="0"/>
              <a:t>Rocco Giossi, </a:t>
            </a:r>
            <a:r>
              <a:rPr lang="sv-SE" sz="1800" dirty="0">
                <a:solidFill>
                  <a:srgbClr val="0070C0"/>
                </a:solidFill>
              </a:rPr>
              <a:t>roccolg@kth.se</a:t>
            </a:r>
            <a:endParaRPr lang="sv-SE" sz="1800" dirty="0"/>
          </a:p>
          <a:p>
            <a:r>
              <a:rPr lang="sv-SE" dirty="0"/>
              <a:t>Alireza Qazizadeh, </a:t>
            </a:r>
            <a:r>
              <a:rPr lang="sv-SE" dirty="0">
                <a:solidFill>
                  <a:srgbClr val="0070C0"/>
                </a:solidFill>
              </a:rPr>
              <a:t>alirezaq@kth.se</a:t>
            </a:r>
            <a:r>
              <a:rPr lang="sv-SE" dirty="0"/>
              <a:t> 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>
                <a:solidFill>
                  <a:srgbClr val="0070C0"/>
                </a:solidFill>
              </a:rPr>
              <a:t>Supplementary material:</a:t>
            </a:r>
          </a:p>
          <a:p>
            <a:r>
              <a:rPr lang="en-US" sz="1800" dirty="0"/>
              <a:t>If you have problem with deriving Equations of motion and transfer functions, read chapter 5 of the ‘Rail Vehicle Dynamics book’. The file is named ‘Rail vehicle dynamics-chap5’ and you can find it on Canvas. Sections 5.1 and 5.3 can be very helpful.</a:t>
            </a:r>
          </a:p>
          <a:p>
            <a:pPr marL="0" indent="0">
              <a:buNone/>
            </a:pPr>
            <a:endParaRPr lang="sv-SE" sz="24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00EA7-DA1B-4E6D-8870-707C2883C942}" type="slidenum">
              <a:rPr lang="sv-SE" smtClean="0"/>
              <a:t>14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704204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  <a:endParaRPr lang="sv-S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/>
            <p:txBody>
              <a:bodyPr>
                <a:normAutofit fontScale="92500"/>
              </a:bodyPr>
              <a:lstStyle/>
              <a:p>
                <a:pPr>
                  <a:buClr>
                    <a:srgbClr val="FF0000"/>
                  </a:buClr>
                </a:pPr>
                <a:r>
                  <a:rPr lang="en-GB" dirty="0"/>
                  <a:t>laboratory aim: control vehicle vibration to improve passenger comfort</a:t>
                </a:r>
              </a:p>
              <a:p>
                <a:pPr>
                  <a:buClr>
                    <a:srgbClr val="FF0000"/>
                  </a:buClr>
                </a:pPr>
                <a:endParaRPr lang="en-GB" dirty="0"/>
              </a:p>
              <a:p>
                <a:pPr>
                  <a:buClr>
                    <a:srgbClr val="FF0000"/>
                  </a:buClr>
                </a:pPr>
                <a:r>
                  <a:rPr lang="en-GB" dirty="0"/>
                  <a:t>To achieve acceptable vibration level, suspension system is used. </a:t>
                </a:r>
              </a:p>
              <a:p>
                <a:pPr marL="342900" indent="-342900">
                  <a:buClr>
                    <a:srgbClr val="FF0000"/>
                  </a:buClr>
                  <a:buFont typeface="Arial" panose="020B0604020202020204" pitchFamily="34" charset="0"/>
                  <a:buChar char="•"/>
                </a:pPr>
                <a:r>
                  <a:rPr lang="en-GB" dirty="0"/>
                  <a:t>Passive suspension: springs and dampers</a:t>
                </a:r>
              </a:p>
              <a:p>
                <a:pPr marL="342900" indent="-342900">
                  <a:buClr>
                    <a:srgbClr val="FF0000"/>
                  </a:buClr>
                  <a:buFont typeface="Arial" panose="020B0604020202020204" pitchFamily="34" charset="0"/>
                  <a:buChar char="•"/>
                </a:pPr>
                <a:r>
                  <a:rPr lang="en-GB" dirty="0"/>
                  <a:t>Active suspension</a:t>
                </a:r>
              </a:p>
              <a:p>
                <a:pPr marL="342900" indent="-342900">
                  <a:buClr>
                    <a:srgbClr val="FF0000"/>
                  </a:buClr>
                  <a:buFont typeface="Arial" panose="020B0604020202020204" pitchFamily="34" charset="0"/>
                  <a:buChar char="•"/>
                </a:pPr>
                <a:endParaRPr lang="en-GB" dirty="0"/>
              </a:p>
              <a:p>
                <a:pPr>
                  <a:buClr>
                    <a:srgbClr val="FF0000"/>
                  </a:buClr>
                </a:pPr>
                <a:r>
                  <a:rPr lang="en-GB" dirty="0"/>
                  <a:t>Controllers you will use: PD, PID, skyhook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sv-S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GB">
                            <a:latin typeface="Cambria Math"/>
                          </a:rPr>
                          <m:t>H</m:t>
                        </m:r>
                      </m:e>
                      <m:sub>
                        <m:r>
                          <a:rPr lang="en-GB">
                            <a:latin typeface="Cambria Math"/>
                          </a:rPr>
                          <m:t>∞</m:t>
                        </m:r>
                      </m:sub>
                    </m:sSub>
                  </m:oMath>
                </a14:m>
                <a:endParaRPr lang="sv-SE" dirty="0"/>
              </a:p>
              <a:p>
                <a:endParaRPr lang="en-GB" sz="2400" dirty="0"/>
              </a:p>
              <a:p>
                <a:endParaRPr lang="sv-SE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1">
                <a:blip r:embed="rId2"/>
                <a:stretch>
                  <a:fillRect l="-2199" t="-2093"/>
                </a:stretch>
              </a:blipFill>
            </p:spPr>
            <p:txBody>
              <a:bodyPr/>
              <a:lstStyle/>
              <a:p>
                <a:r>
                  <a:rPr lang="sv-S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00EA7-DA1B-4E6D-8870-707C2883C942}" type="slidenum">
              <a:rPr lang="sv-SE" smtClean="0"/>
              <a:t>2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2735298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Theory:</a:t>
            </a:r>
            <a:endParaRPr lang="sv-S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467544" y="2276872"/>
                <a:ext cx="8229600" cy="1684784"/>
              </a:xfrm>
            </p:spPr>
            <p:txBody>
              <a:bodyPr>
                <a:normAutofit/>
              </a:bodyPr>
              <a:lstStyle/>
              <a:p>
                <a:pPr lvl="2">
                  <a:buClr>
                    <a:schemeClr val="accent6"/>
                  </a:buClr>
                  <a:buFont typeface="Arial" panose="020B0604020202020204" pitchFamily="34" charset="0"/>
                  <a:buChar char="•"/>
                </a:pPr>
                <a:r>
                  <a:rPr lang="en-US" sz="1800" dirty="0"/>
                  <a:t>Skyhook controller</a:t>
                </a:r>
              </a:p>
              <a:p>
                <a:pPr lvl="2">
                  <a:buClr>
                    <a:schemeClr val="accent6"/>
                  </a:buClr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sv-SE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sz="1800" i="1">
                            <a:latin typeface="Cambria Math"/>
                          </a:rPr>
                          <m:t>𝐻</m:t>
                        </m:r>
                      </m:e>
                      <m:sub>
                        <m:r>
                          <a:rPr lang="en-US" sz="1800" i="1">
                            <a:latin typeface="Cambria Math"/>
                          </a:rPr>
                          <m:t>∞</m:t>
                        </m:r>
                      </m:sub>
                    </m:sSub>
                  </m:oMath>
                </a14:m>
                <a:r>
                  <a:rPr lang="en-US" sz="1800" dirty="0"/>
                  <a:t> controller 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467544" y="2276872"/>
                <a:ext cx="8229600" cy="1684784"/>
              </a:xfrm>
              <a:blipFill rotWithShape="1">
                <a:blip r:embed="rId2"/>
                <a:stretch>
                  <a:fillRect t="-4710"/>
                </a:stretch>
              </a:blipFill>
            </p:spPr>
            <p:txBody>
              <a:bodyPr/>
              <a:lstStyle/>
              <a:p>
                <a:r>
                  <a:rPr lang="sv-S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" name="Picture 4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6876" y="2946300"/>
            <a:ext cx="3919855" cy="2688590"/>
          </a:xfrm>
          <a:prstGeom prst="rect">
            <a:avLst/>
          </a:prstGeom>
          <a:noFill/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00EA7-DA1B-4E6D-8870-707C2883C942}" type="slidenum">
              <a:rPr lang="sv-SE" smtClean="0"/>
              <a:t>3</a:t>
            </a:fld>
            <a:endParaRPr lang="sv-SE" dirty="0"/>
          </a:p>
        </p:txBody>
      </p:sp>
      <p:grpSp>
        <p:nvGrpSpPr>
          <p:cNvPr id="38" name="Group 37"/>
          <p:cNvGrpSpPr/>
          <p:nvPr/>
        </p:nvGrpSpPr>
        <p:grpSpPr>
          <a:xfrm>
            <a:off x="1266317" y="3423058"/>
            <a:ext cx="2727798" cy="2155134"/>
            <a:chOff x="1104909" y="3283351"/>
            <a:chExt cx="2727798" cy="2155134"/>
          </a:xfrm>
        </p:grpSpPr>
        <p:cxnSp>
          <p:nvCxnSpPr>
            <p:cNvPr id="7" name="Straight Connector 6"/>
            <p:cNvCxnSpPr/>
            <p:nvPr/>
          </p:nvCxnSpPr>
          <p:spPr>
            <a:xfrm>
              <a:off x="2293688" y="4691125"/>
              <a:ext cx="160949" cy="381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/>
          </p:nvCxnSpPr>
          <p:spPr>
            <a:xfrm>
              <a:off x="2462022" y="4268850"/>
              <a:ext cx="152400" cy="381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V="1">
              <a:off x="2290677" y="4614925"/>
              <a:ext cx="327919" cy="762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H="1" flipV="1">
              <a:off x="2302235" y="4538725"/>
              <a:ext cx="316586" cy="762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V="1">
              <a:off x="2290675" y="4462525"/>
              <a:ext cx="331320" cy="762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flipH="1" flipV="1">
              <a:off x="2293686" y="4383150"/>
              <a:ext cx="336530" cy="762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 flipH="1">
              <a:off x="2294848" y="4306950"/>
              <a:ext cx="319574" cy="762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>
              <a:off x="2344419" y="3625647"/>
              <a:ext cx="2286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>
              <a:off x="2344419" y="3498648"/>
              <a:ext cx="0" cy="127001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>
              <a:off x="2573019" y="3498648"/>
              <a:ext cx="0" cy="127001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>
              <a:off x="2344419" y="3539922"/>
              <a:ext cx="2286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 flipV="1">
              <a:off x="2463703" y="4195825"/>
              <a:ext cx="0" cy="7302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 flipV="1">
              <a:off x="2463446" y="3362932"/>
              <a:ext cx="0" cy="176992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H="1" flipV="1">
              <a:off x="2464622" y="3628824"/>
              <a:ext cx="991" cy="182633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tangle 20"/>
            <p:cNvSpPr/>
            <p:nvPr/>
          </p:nvSpPr>
          <p:spPr>
            <a:xfrm>
              <a:off x="2133805" y="3820521"/>
              <a:ext cx="687350" cy="381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dirty="0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2" name="TextBox 21"/>
                <p:cNvSpPr txBox="1"/>
                <p:nvPr/>
              </p:nvSpPr>
              <p:spPr>
                <a:xfrm>
                  <a:off x="1979375" y="4345050"/>
                  <a:ext cx="383182" cy="29129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12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200" b="0" i="1" smtClean="0">
                                <a:latin typeface="Cambria Math"/>
                              </a:rPr>
                              <m:t>𝑘</m:t>
                            </m:r>
                          </m:e>
                          <m:sub>
                            <m:r>
                              <a:rPr lang="en-US" sz="1200" b="0" i="1" smtClean="0">
                                <a:latin typeface="Cambria Math"/>
                              </a:rPr>
                              <m:t>𝑝</m:t>
                            </m:r>
                          </m:sub>
                        </m:sSub>
                      </m:oMath>
                    </m:oMathPara>
                  </a14:m>
                  <a:endParaRPr lang="sv-SE" sz="1200" dirty="0"/>
                </a:p>
              </p:txBody>
            </p:sp>
          </mc:Choice>
          <mc:Fallback xmlns="">
            <p:sp>
              <p:nvSpPr>
                <p:cNvPr id="22" name="TextBox 21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979375" y="4345050"/>
                  <a:ext cx="383182" cy="291298"/>
                </a:xfrm>
                <a:prstGeom prst="rect">
                  <a:avLst/>
                </a:prstGeom>
                <a:blipFill rotWithShape="1">
                  <a:blip r:embed="rId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sv-S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3" name="TextBox 22"/>
                <p:cNvSpPr txBox="1"/>
                <p:nvPr/>
              </p:nvSpPr>
              <p:spPr>
                <a:xfrm>
                  <a:off x="2250664" y="3865372"/>
                  <a:ext cx="426463" cy="29129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12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200" b="0" i="1" smtClean="0">
                                <a:latin typeface="Cambria Math"/>
                              </a:rPr>
                              <m:t>𝑚</m:t>
                            </m:r>
                          </m:e>
                          <m:sub>
                            <m:r>
                              <a:rPr lang="en-US" sz="1200" b="0" i="1" smtClean="0">
                                <a:latin typeface="Cambria Math"/>
                              </a:rPr>
                              <m:t>𝑝</m:t>
                            </m:r>
                          </m:sub>
                        </m:sSub>
                      </m:oMath>
                    </m:oMathPara>
                  </a14:m>
                  <a:endParaRPr lang="sv-SE" sz="1200" dirty="0"/>
                </a:p>
              </p:txBody>
            </p:sp>
          </mc:Choice>
          <mc:Fallback xmlns="">
            <p:sp>
              <p:nvSpPr>
                <p:cNvPr id="23" name="TextBox 22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250664" y="3865372"/>
                  <a:ext cx="426463" cy="291298"/>
                </a:xfrm>
                <a:prstGeom prst="rect">
                  <a:avLst/>
                </a:prstGeom>
                <a:blipFill rotWithShape="1">
                  <a:blip r:embed="rId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sv-SE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24" name="Straight Connector 23"/>
            <p:cNvCxnSpPr>
              <a:stCxn id="21" idx="1"/>
            </p:cNvCxnSpPr>
            <p:nvPr/>
          </p:nvCxnSpPr>
          <p:spPr>
            <a:xfrm flipH="1">
              <a:off x="1870664" y="4011021"/>
              <a:ext cx="263143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Arrow Connector 24"/>
            <p:cNvCxnSpPr/>
            <p:nvPr/>
          </p:nvCxnSpPr>
          <p:spPr>
            <a:xfrm flipV="1">
              <a:off x="1870662" y="3865372"/>
              <a:ext cx="0" cy="145650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>
            <a:xfrm flipH="1">
              <a:off x="2019777" y="4979401"/>
              <a:ext cx="263143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Arrow Connector 26"/>
            <p:cNvCxnSpPr/>
            <p:nvPr/>
          </p:nvCxnSpPr>
          <p:spPr>
            <a:xfrm flipV="1">
              <a:off x="2019775" y="4666664"/>
              <a:ext cx="2" cy="312738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8" name="TextBox 27"/>
                <p:cNvSpPr txBox="1"/>
                <p:nvPr/>
              </p:nvSpPr>
              <p:spPr>
                <a:xfrm>
                  <a:off x="1509028" y="3752938"/>
                  <a:ext cx="338682" cy="25808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10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000" b="0" i="1" smtClean="0">
                                <a:latin typeface="Cambria Math"/>
                              </a:rPr>
                              <m:t>𝑧</m:t>
                            </m:r>
                          </m:e>
                          <m:sub>
                            <m:r>
                              <a:rPr lang="en-US" sz="1000" b="0" i="1" smtClean="0">
                                <a:latin typeface="Cambria Math"/>
                              </a:rPr>
                              <m:t>𝑝</m:t>
                            </m:r>
                          </m:sub>
                        </m:sSub>
                      </m:oMath>
                    </m:oMathPara>
                  </a14:m>
                  <a:endParaRPr lang="sv-SE" sz="1000" dirty="0"/>
                </a:p>
              </p:txBody>
            </p:sp>
          </mc:Choice>
          <mc:Fallback xmlns="">
            <p:sp>
              <p:nvSpPr>
                <p:cNvPr id="28" name="TextBox 27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509028" y="3752938"/>
                  <a:ext cx="338682" cy="258084"/>
                </a:xfrm>
                <a:prstGeom prst="rect">
                  <a:avLst/>
                </a:prstGeom>
                <a:blipFill rotWithShape="1">
                  <a:blip r:embed="rId6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sv-S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9" name="TextBox 28"/>
                <p:cNvSpPr txBox="1"/>
                <p:nvPr/>
              </p:nvSpPr>
              <p:spPr>
                <a:xfrm>
                  <a:off x="1669388" y="4662456"/>
                  <a:ext cx="367921" cy="24622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10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000" b="0" i="1" smtClean="0">
                                <a:latin typeface="Cambria Math"/>
                              </a:rPr>
                              <m:t>𝑧</m:t>
                            </m:r>
                          </m:e>
                          <m:sub>
                            <m:r>
                              <a:rPr lang="en-US" sz="1000" b="0" i="1" smtClean="0">
                                <a:latin typeface="Cambria Math"/>
                              </a:rPr>
                              <m:t>𝑤</m:t>
                            </m:r>
                          </m:sub>
                        </m:sSub>
                      </m:oMath>
                    </m:oMathPara>
                  </a14:m>
                  <a:endParaRPr lang="sv-SE" sz="1000" dirty="0"/>
                </a:p>
              </p:txBody>
            </p:sp>
          </mc:Choice>
          <mc:Fallback xmlns="">
            <p:sp>
              <p:nvSpPr>
                <p:cNvPr id="29" name="TextBox 28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669388" y="4662456"/>
                  <a:ext cx="367921" cy="246221"/>
                </a:xfrm>
                <a:prstGeom prst="rect">
                  <a:avLst/>
                </a:prstGeom>
                <a:blipFill rotWithShape="1">
                  <a:blip r:embed="rId7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sv-S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0" name="TextBox 29"/>
                <p:cNvSpPr txBox="1"/>
                <p:nvPr/>
              </p:nvSpPr>
              <p:spPr>
                <a:xfrm>
                  <a:off x="2565399" y="3301686"/>
                  <a:ext cx="364972" cy="29129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12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200" b="0" i="1" smtClean="0">
                                <a:latin typeface="Cambria Math"/>
                              </a:rPr>
                              <m:t>𝑐</m:t>
                            </m:r>
                          </m:e>
                          <m:sub>
                            <m:r>
                              <a:rPr lang="en-US" sz="1200" b="0" i="1" smtClean="0">
                                <a:latin typeface="Cambria Math"/>
                              </a:rPr>
                              <m:t>𝑝</m:t>
                            </m:r>
                          </m:sub>
                        </m:sSub>
                      </m:oMath>
                    </m:oMathPara>
                  </a14:m>
                  <a:endParaRPr lang="sv-SE" sz="1200" dirty="0"/>
                </a:p>
              </p:txBody>
            </p:sp>
          </mc:Choice>
          <mc:Fallback xmlns="">
            <p:sp>
              <p:nvSpPr>
                <p:cNvPr id="30" name="TextBox 2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565399" y="3301686"/>
                  <a:ext cx="364972" cy="291298"/>
                </a:xfrm>
                <a:prstGeom prst="rect">
                  <a:avLst/>
                </a:prstGeom>
                <a:blipFill rotWithShape="1">
                  <a:blip r:embed="rId8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sv-S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31" name="Freeform 30"/>
            <p:cNvSpPr/>
            <p:nvPr/>
          </p:nvSpPr>
          <p:spPr>
            <a:xfrm>
              <a:off x="1104909" y="5125850"/>
              <a:ext cx="2537389" cy="312635"/>
            </a:xfrm>
            <a:custGeom>
              <a:avLst/>
              <a:gdLst>
                <a:gd name="connsiteX0" fmla="*/ 0 w 7093010"/>
                <a:gd name="connsiteY0" fmla="*/ 145279 h 521294"/>
                <a:gd name="connsiteX1" fmla="*/ 42729 w 7093010"/>
                <a:gd name="connsiteY1" fmla="*/ 136733 h 521294"/>
                <a:gd name="connsiteX2" fmla="*/ 162371 w 7093010"/>
                <a:gd name="connsiteY2" fmla="*/ 119641 h 521294"/>
                <a:gd name="connsiteX3" fmla="*/ 188008 w 7093010"/>
                <a:gd name="connsiteY3" fmla="*/ 102550 h 521294"/>
                <a:gd name="connsiteX4" fmla="*/ 213645 w 7093010"/>
                <a:gd name="connsiteY4" fmla="*/ 94004 h 521294"/>
                <a:gd name="connsiteX5" fmla="*/ 299103 w 7093010"/>
                <a:gd name="connsiteY5" fmla="*/ 119641 h 521294"/>
                <a:gd name="connsiteX6" fmla="*/ 316195 w 7093010"/>
                <a:gd name="connsiteY6" fmla="*/ 145279 h 521294"/>
                <a:gd name="connsiteX7" fmla="*/ 358924 w 7093010"/>
                <a:gd name="connsiteY7" fmla="*/ 136733 h 521294"/>
                <a:gd name="connsiteX8" fmla="*/ 384561 w 7093010"/>
                <a:gd name="connsiteY8" fmla="*/ 119641 h 521294"/>
                <a:gd name="connsiteX9" fmla="*/ 418744 w 7093010"/>
                <a:gd name="connsiteY9" fmla="*/ 102550 h 521294"/>
                <a:gd name="connsiteX10" fmla="*/ 461473 w 7093010"/>
                <a:gd name="connsiteY10" fmla="*/ 76912 h 521294"/>
                <a:gd name="connsiteX11" fmla="*/ 504202 w 7093010"/>
                <a:gd name="connsiteY11" fmla="*/ 68367 h 521294"/>
                <a:gd name="connsiteX12" fmla="*/ 529840 w 7093010"/>
                <a:gd name="connsiteY12" fmla="*/ 51275 h 521294"/>
                <a:gd name="connsiteX13" fmla="*/ 572569 w 7093010"/>
                <a:gd name="connsiteY13" fmla="*/ 102550 h 521294"/>
                <a:gd name="connsiteX14" fmla="*/ 623843 w 7093010"/>
                <a:gd name="connsiteY14" fmla="*/ 153824 h 521294"/>
                <a:gd name="connsiteX15" fmla="*/ 649481 w 7093010"/>
                <a:gd name="connsiteY15" fmla="*/ 222191 h 521294"/>
                <a:gd name="connsiteX16" fmla="*/ 675118 w 7093010"/>
                <a:gd name="connsiteY16" fmla="*/ 205099 h 521294"/>
                <a:gd name="connsiteX17" fmla="*/ 717847 w 7093010"/>
                <a:gd name="connsiteY17" fmla="*/ 162370 h 521294"/>
                <a:gd name="connsiteX18" fmla="*/ 743485 w 7093010"/>
                <a:gd name="connsiteY18" fmla="*/ 145279 h 521294"/>
                <a:gd name="connsiteX19" fmla="*/ 769122 w 7093010"/>
                <a:gd name="connsiteY19" fmla="*/ 119641 h 521294"/>
                <a:gd name="connsiteX20" fmla="*/ 803305 w 7093010"/>
                <a:gd name="connsiteY20" fmla="*/ 102550 h 521294"/>
                <a:gd name="connsiteX21" fmla="*/ 837488 w 7093010"/>
                <a:gd name="connsiteY21" fmla="*/ 162370 h 521294"/>
                <a:gd name="connsiteX22" fmla="*/ 863126 w 7093010"/>
                <a:gd name="connsiteY22" fmla="*/ 145279 h 521294"/>
                <a:gd name="connsiteX23" fmla="*/ 940038 w 7093010"/>
                <a:gd name="connsiteY23" fmla="*/ 59821 h 521294"/>
                <a:gd name="connsiteX24" fmla="*/ 999858 w 7093010"/>
                <a:gd name="connsiteY24" fmla="*/ 51275 h 521294"/>
                <a:gd name="connsiteX25" fmla="*/ 1059679 w 7093010"/>
                <a:gd name="connsiteY25" fmla="*/ 119641 h 521294"/>
                <a:gd name="connsiteX26" fmla="*/ 1110954 w 7093010"/>
                <a:gd name="connsiteY26" fmla="*/ 188008 h 521294"/>
                <a:gd name="connsiteX27" fmla="*/ 1239141 w 7093010"/>
                <a:gd name="connsiteY27" fmla="*/ 111096 h 521294"/>
                <a:gd name="connsiteX28" fmla="*/ 1273324 w 7093010"/>
                <a:gd name="connsiteY28" fmla="*/ 85458 h 521294"/>
                <a:gd name="connsiteX29" fmla="*/ 1324599 w 7093010"/>
                <a:gd name="connsiteY29" fmla="*/ 102550 h 521294"/>
                <a:gd name="connsiteX30" fmla="*/ 1350236 w 7093010"/>
                <a:gd name="connsiteY30" fmla="*/ 145279 h 521294"/>
                <a:gd name="connsiteX31" fmla="*/ 1367328 w 7093010"/>
                <a:gd name="connsiteY31" fmla="*/ 170916 h 521294"/>
                <a:gd name="connsiteX32" fmla="*/ 1392965 w 7093010"/>
                <a:gd name="connsiteY32" fmla="*/ 179462 h 521294"/>
                <a:gd name="connsiteX33" fmla="*/ 1418602 w 7093010"/>
                <a:gd name="connsiteY33" fmla="*/ 170916 h 521294"/>
                <a:gd name="connsiteX34" fmla="*/ 1469877 w 7093010"/>
                <a:gd name="connsiteY34" fmla="*/ 119641 h 521294"/>
                <a:gd name="connsiteX35" fmla="*/ 1478423 w 7093010"/>
                <a:gd name="connsiteY35" fmla="*/ 94004 h 521294"/>
                <a:gd name="connsiteX36" fmla="*/ 1504060 w 7093010"/>
                <a:gd name="connsiteY36" fmla="*/ 85458 h 521294"/>
                <a:gd name="connsiteX37" fmla="*/ 1555335 w 7093010"/>
                <a:gd name="connsiteY37" fmla="*/ 76912 h 521294"/>
                <a:gd name="connsiteX38" fmla="*/ 1589518 w 7093010"/>
                <a:gd name="connsiteY38" fmla="*/ 128187 h 521294"/>
                <a:gd name="connsiteX39" fmla="*/ 1632247 w 7093010"/>
                <a:gd name="connsiteY39" fmla="*/ 205099 h 521294"/>
                <a:gd name="connsiteX40" fmla="*/ 1657885 w 7093010"/>
                <a:gd name="connsiteY40" fmla="*/ 213645 h 521294"/>
                <a:gd name="connsiteX41" fmla="*/ 1666430 w 7093010"/>
                <a:gd name="connsiteY41" fmla="*/ 188008 h 521294"/>
                <a:gd name="connsiteX42" fmla="*/ 1743342 w 7093010"/>
                <a:gd name="connsiteY42" fmla="*/ 153824 h 521294"/>
                <a:gd name="connsiteX43" fmla="*/ 1794617 w 7093010"/>
                <a:gd name="connsiteY43" fmla="*/ 196553 h 521294"/>
                <a:gd name="connsiteX44" fmla="*/ 1828800 w 7093010"/>
                <a:gd name="connsiteY44" fmla="*/ 170916 h 521294"/>
                <a:gd name="connsiteX45" fmla="*/ 1922804 w 7093010"/>
                <a:gd name="connsiteY45" fmla="*/ 128187 h 521294"/>
                <a:gd name="connsiteX46" fmla="*/ 1948442 w 7093010"/>
                <a:gd name="connsiteY46" fmla="*/ 136733 h 521294"/>
                <a:gd name="connsiteX47" fmla="*/ 1974079 w 7093010"/>
                <a:gd name="connsiteY47" fmla="*/ 162370 h 521294"/>
                <a:gd name="connsiteX48" fmla="*/ 2008262 w 7093010"/>
                <a:gd name="connsiteY48" fmla="*/ 230737 h 521294"/>
                <a:gd name="connsiteX49" fmla="*/ 2059537 w 7093010"/>
                <a:gd name="connsiteY49" fmla="*/ 205099 h 521294"/>
                <a:gd name="connsiteX50" fmla="*/ 2110812 w 7093010"/>
                <a:gd name="connsiteY50" fmla="*/ 145279 h 521294"/>
                <a:gd name="connsiteX51" fmla="*/ 2196270 w 7093010"/>
                <a:gd name="connsiteY51" fmla="*/ 17092 h 521294"/>
                <a:gd name="connsiteX52" fmla="*/ 2221907 w 7093010"/>
                <a:gd name="connsiteY52" fmla="*/ 0 h 521294"/>
                <a:gd name="connsiteX53" fmla="*/ 2256090 w 7093010"/>
                <a:gd name="connsiteY53" fmla="*/ 111096 h 521294"/>
                <a:gd name="connsiteX54" fmla="*/ 2307365 w 7093010"/>
                <a:gd name="connsiteY54" fmla="*/ 102550 h 521294"/>
                <a:gd name="connsiteX55" fmla="*/ 2315911 w 7093010"/>
                <a:gd name="connsiteY55" fmla="*/ 128187 h 521294"/>
                <a:gd name="connsiteX56" fmla="*/ 2358640 w 7093010"/>
                <a:gd name="connsiteY56" fmla="*/ 102550 h 521294"/>
                <a:gd name="connsiteX57" fmla="*/ 2384277 w 7093010"/>
                <a:gd name="connsiteY57" fmla="*/ 94004 h 521294"/>
                <a:gd name="connsiteX58" fmla="*/ 2392823 w 7093010"/>
                <a:gd name="connsiteY58" fmla="*/ 136733 h 521294"/>
                <a:gd name="connsiteX59" fmla="*/ 2435552 w 7093010"/>
                <a:gd name="connsiteY59" fmla="*/ 170916 h 521294"/>
                <a:gd name="connsiteX60" fmla="*/ 2444098 w 7093010"/>
                <a:gd name="connsiteY60" fmla="*/ 205099 h 521294"/>
                <a:gd name="connsiteX61" fmla="*/ 2461189 w 7093010"/>
                <a:gd name="connsiteY61" fmla="*/ 230737 h 521294"/>
                <a:gd name="connsiteX62" fmla="*/ 2503918 w 7093010"/>
                <a:gd name="connsiteY62" fmla="*/ 179462 h 521294"/>
                <a:gd name="connsiteX63" fmla="*/ 2538101 w 7093010"/>
                <a:gd name="connsiteY63" fmla="*/ 119641 h 521294"/>
                <a:gd name="connsiteX64" fmla="*/ 2546647 w 7093010"/>
                <a:gd name="connsiteY64" fmla="*/ 145279 h 521294"/>
                <a:gd name="connsiteX65" fmla="*/ 2572285 w 7093010"/>
                <a:gd name="connsiteY65" fmla="*/ 188008 h 521294"/>
                <a:gd name="connsiteX66" fmla="*/ 2597922 w 7093010"/>
                <a:gd name="connsiteY66" fmla="*/ 179462 h 521294"/>
                <a:gd name="connsiteX67" fmla="*/ 2632105 w 7093010"/>
                <a:gd name="connsiteY67" fmla="*/ 153824 h 521294"/>
                <a:gd name="connsiteX68" fmla="*/ 2657742 w 7093010"/>
                <a:gd name="connsiteY68" fmla="*/ 196553 h 521294"/>
                <a:gd name="connsiteX69" fmla="*/ 2683380 w 7093010"/>
                <a:gd name="connsiteY69" fmla="*/ 205099 h 521294"/>
                <a:gd name="connsiteX70" fmla="*/ 2785929 w 7093010"/>
                <a:gd name="connsiteY70" fmla="*/ 102550 h 521294"/>
                <a:gd name="connsiteX71" fmla="*/ 2871387 w 7093010"/>
                <a:gd name="connsiteY71" fmla="*/ 51275 h 521294"/>
                <a:gd name="connsiteX72" fmla="*/ 2931208 w 7093010"/>
                <a:gd name="connsiteY72" fmla="*/ 25638 h 521294"/>
                <a:gd name="connsiteX73" fmla="*/ 2965391 w 7093010"/>
                <a:gd name="connsiteY73" fmla="*/ 8546 h 521294"/>
                <a:gd name="connsiteX74" fmla="*/ 2991028 w 7093010"/>
                <a:gd name="connsiteY74" fmla="*/ 17092 h 521294"/>
                <a:gd name="connsiteX75" fmla="*/ 2999574 w 7093010"/>
                <a:gd name="connsiteY75" fmla="*/ 59821 h 521294"/>
                <a:gd name="connsiteX76" fmla="*/ 3008120 w 7093010"/>
                <a:gd name="connsiteY76" fmla="*/ 85458 h 521294"/>
                <a:gd name="connsiteX77" fmla="*/ 3033757 w 7093010"/>
                <a:gd name="connsiteY77" fmla="*/ 94004 h 521294"/>
                <a:gd name="connsiteX78" fmla="*/ 3067941 w 7093010"/>
                <a:gd name="connsiteY78" fmla="*/ 128187 h 521294"/>
                <a:gd name="connsiteX79" fmla="*/ 3085032 w 7093010"/>
                <a:gd name="connsiteY79" fmla="*/ 153824 h 521294"/>
                <a:gd name="connsiteX80" fmla="*/ 3119215 w 7093010"/>
                <a:gd name="connsiteY80" fmla="*/ 188008 h 521294"/>
                <a:gd name="connsiteX81" fmla="*/ 3161944 w 7093010"/>
                <a:gd name="connsiteY81" fmla="*/ 196553 h 521294"/>
                <a:gd name="connsiteX82" fmla="*/ 3221765 w 7093010"/>
                <a:gd name="connsiteY82" fmla="*/ 119641 h 521294"/>
                <a:gd name="connsiteX83" fmla="*/ 3247402 w 7093010"/>
                <a:gd name="connsiteY83" fmla="*/ 76912 h 521294"/>
                <a:gd name="connsiteX84" fmla="*/ 3273040 w 7093010"/>
                <a:gd name="connsiteY84" fmla="*/ 68367 h 521294"/>
                <a:gd name="connsiteX85" fmla="*/ 3307223 w 7093010"/>
                <a:gd name="connsiteY85" fmla="*/ 128187 h 521294"/>
                <a:gd name="connsiteX86" fmla="*/ 3341406 w 7093010"/>
                <a:gd name="connsiteY86" fmla="*/ 170916 h 521294"/>
                <a:gd name="connsiteX87" fmla="*/ 3367043 w 7093010"/>
                <a:gd name="connsiteY87" fmla="*/ 162370 h 521294"/>
                <a:gd name="connsiteX88" fmla="*/ 3401227 w 7093010"/>
                <a:gd name="connsiteY88" fmla="*/ 119641 h 521294"/>
                <a:gd name="connsiteX89" fmla="*/ 3418318 w 7093010"/>
                <a:gd name="connsiteY89" fmla="*/ 153824 h 521294"/>
                <a:gd name="connsiteX90" fmla="*/ 3452501 w 7093010"/>
                <a:gd name="connsiteY90" fmla="*/ 213645 h 521294"/>
                <a:gd name="connsiteX91" fmla="*/ 3461047 w 7093010"/>
                <a:gd name="connsiteY91" fmla="*/ 264920 h 521294"/>
                <a:gd name="connsiteX92" fmla="*/ 3486685 w 7093010"/>
                <a:gd name="connsiteY92" fmla="*/ 282011 h 521294"/>
                <a:gd name="connsiteX93" fmla="*/ 3597780 w 7093010"/>
                <a:gd name="connsiteY93" fmla="*/ 119641 h 521294"/>
                <a:gd name="connsiteX94" fmla="*/ 3717421 w 7093010"/>
                <a:gd name="connsiteY94" fmla="*/ 25638 h 521294"/>
                <a:gd name="connsiteX95" fmla="*/ 3734513 w 7093010"/>
                <a:gd name="connsiteY95" fmla="*/ 59821 h 521294"/>
                <a:gd name="connsiteX96" fmla="*/ 3743058 w 7093010"/>
                <a:gd name="connsiteY96" fmla="*/ 102550 h 521294"/>
                <a:gd name="connsiteX97" fmla="*/ 3768696 w 7093010"/>
                <a:gd name="connsiteY97" fmla="*/ 94004 h 521294"/>
                <a:gd name="connsiteX98" fmla="*/ 3794333 w 7093010"/>
                <a:gd name="connsiteY98" fmla="*/ 68367 h 521294"/>
                <a:gd name="connsiteX99" fmla="*/ 3811425 w 7093010"/>
                <a:gd name="connsiteY99" fmla="*/ 136733 h 521294"/>
                <a:gd name="connsiteX100" fmla="*/ 3837062 w 7093010"/>
                <a:gd name="connsiteY100" fmla="*/ 264920 h 521294"/>
                <a:gd name="connsiteX101" fmla="*/ 3862700 w 7093010"/>
                <a:gd name="connsiteY101" fmla="*/ 273466 h 521294"/>
                <a:gd name="connsiteX102" fmla="*/ 3931066 w 7093010"/>
                <a:gd name="connsiteY102" fmla="*/ 205099 h 521294"/>
                <a:gd name="connsiteX103" fmla="*/ 3982341 w 7093010"/>
                <a:gd name="connsiteY103" fmla="*/ 145279 h 521294"/>
                <a:gd name="connsiteX104" fmla="*/ 4093436 w 7093010"/>
                <a:gd name="connsiteY104" fmla="*/ 8546 h 521294"/>
                <a:gd name="connsiteX105" fmla="*/ 4119073 w 7093010"/>
                <a:gd name="connsiteY105" fmla="*/ 76912 h 521294"/>
                <a:gd name="connsiteX106" fmla="*/ 4144711 w 7093010"/>
                <a:gd name="connsiteY106" fmla="*/ 170916 h 521294"/>
                <a:gd name="connsiteX107" fmla="*/ 4178894 w 7093010"/>
                <a:gd name="connsiteY107" fmla="*/ 179462 h 521294"/>
                <a:gd name="connsiteX108" fmla="*/ 4204531 w 7093010"/>
                <a:gd name="connsiteY108" fmla="*/ 162370 h 521294"/>
                <a:gd name="connsiteX109" fmla="*/ 4230169 w 7093010"/>
                <a:gd name="connsiteY109" fmla="*/ 128187 h 521294"/>
                <a:gd name="connsiteX110" fmla="*/ 4255806 w 7093010"/>
                <a:gd name="connsiteY110" fmla="*/ 136733 h 521294"/>
                <a:gd name="connsiteX111" fmla="*/ 4281443 w 7093010"/>
                <a:gd name="connsiteY111" fmla="*/ 239282 h 521294"/>
                <a:gd name="connsiteX112" fmla="*/ 4307081 w 7093010"/>
                <a:gd name="connsiteY112" fmla="*/ 213645 h 521294"/>
                <a:gd name="connsiteX113" fmla="*/ 4349810 w 7093010"/>
                <a:gd name="connsiteY113" fmla="*/ 153824 h 521294"/>
                <a:gd name="connsiteX114" fmla="*/ 4366901 w 7093010"/>
                <a:gd name="connsiteY114" fmla="*/ 179462 h 521294"/>
                <a:gd name="connsiteX115" fmla="*/ 4392539 w 7093010"/>
                <a:gd name="connsiteY115" fmla="*/ 247828 h 521294"/>
                <a:gd name="connsiteX116" fmla="*/ 4426722 w 7093010"/>
                <a:gd name="connsiteY116" fmla="*/ 239282 h 521294"/>
                <a:gd name="connsiteX117" fmla="*/ 4495088 w 7093010"/>
                <a:gd name="connsiteY117" fmla="*/ 136733 h 521294"/>
                <a:gd name="connsiteX118" fmla="*/ 4520726 w 7093010"/>
                <a:gd name="connsiteY118" fmla="*/ 179462 h 521294"/>
                <a:gd name="connsiteX119" fmla="*/ 4580546 w 7093010"/>
                <a:gd name="connsiteY119" fmla="*/ 299103 h 521294"/>
                <a:gd name="connsiteX120" fmla="*/ 4606184 w 7093010"/>
                <a:gd name="connsiteY120" fmla="*/ 316195 h 521294"/>
                <a:gd name="connsiteX121" fmla="*/ 4640367 w 7093010"/>
                <a:gd name="connsiteY121" fmla="*/ 290557 h 521294"/>
                <a:gd name="connsiteX122" fmla="*/ 4708733 w 7093010"/>
                <a:gd name="connsiteY122" fmla="*/ 196553 h 521294"/>
                <a:gd name="connsiteX123" fmla="*/ 4751462 w 7093010"/>
                <a:gd name="connsiteY123" fmla="*/ 205099 h 521294"/>
                <a:gd name="connsiteX124" fmla="*/ 4777100 w 7093010"/>
                <a:gd name="connsiteY124" fmla="*/ 222191 h 521294"/>
                <a:gd name="connsiteX125" fmla="*/ 4862557 w 7093010"/>
                <a:gd name="connsiteY125" fmla="*/ 119641 h 521294"/>
                <a:gd name="connsiteX126" fmla="*/ 4871103 w 7093010"/>
                <a:gd name="connsiteY126" fmla="*/ 153824 h 521294"/>
                <a:gd name="connsiteX127" fmla="*/ 4888195 w 7093010"/>
                <a:gd name="connsiteY127" fmla="*/ 247828 h 521294"/>
                <a:gd name="connsiteX128" fmla="*/ 4913832 w 7093010"/>
                <a:gd name="connsiteY128" fmla="*/ 282011 h 521294"/>
                <a:gd name="connsiteX129" fmla="*/ 4965107 w 7093010"/>
                <a:gd name="connsiteY129" fmla="*/ 350378 h 521294"/>
                <a:gd name="connsiteX130" fmla="*/ 5076202 w 7093010"/>
                <a:gd name="connsiteY130" fmla="*/ 264920 h 521294"/>
                <a:gd name="connsiteX131" fmla="*/ 5101840 w 7093010"/>
                <a:gd name="connsiteY131" fmla="*/ 179462 h 521294"/>
                <a:gd name="connsiteX132" fmla="*/ 5118931 w 7093010"/>
                <a:gd name="connsiteY132" fmla="*/ 153824 h 521294"/>
                <a:gd name="connsiteX133" fmla="*/ 5136023 w 7093010"/>
                <a:gd name="connsiteY133" fmla="*/ 188008 h 521294"/>
                <a:gd name="connsiteX134" fmla="*/ 5204389 w 7093010"/>
                <a:gd name="connsiteY134" fmla="*/ 136733 h 521294"/>
                <a:gd name="connsiteX135" fmla="*/ 5238572 w 7093010"/>
                <a:gd name="connsiteY135" fmla="*/ 213645 h 521294"/>
                <a:gd name="connsiteX136" fmla="*/ 5272756 w 7093010"/>
                <a:gd name="connsiteY136" fmla="*/ 264920 h 521294"/>
                <a:gd name="connsiteX137" fmla="*/ 5306939 w 7093010"/>
                <a:gd name="connsiteY137" fmla="*/ 230737 h 521294"/>
                <a:gd name="connsiteX138" fmla="*/ 5315485 w 7093010"/>
                <a:gd name="connsiteY138" fmla="*/ 205099 h 521294"/>
                <a:gd name="connsiteX139" fmla="*/ 5324030 w 7093010"/>
                <a:gd name="connsiteY139" fmla="*/ 230737 h 521294"/>
                <a:gd name="connsiteX140" fmla="*/ 5332576 w 7093010"/>
                <a:gd name="connsiteY140" fmla="*/ 273466 h 521294"/>
                <a:gd name="connsiteX141" fmla="*/ 5383851 w 7093010"/>
                <a:gd name="connsiteY141" fmla="*/ 196553 h 521294"/>
                <a:gd name="connsiteX142" fmla="*/ 5452217 w 7093010"/>
                <a:gd name="connsiteY142" fmla="*/ 153824 h 521294"/>
                <a:gd name="connsiteX143" fmla="*/ 5520584 w 7093010"/>
                <a:gd name="connsiteY143" fmla="*/ 145279 h 521294"/>
                <a:gd name="connsiteX144" fmla="*/ 5537675 w 7093010"/>
                <a:gd name="connsiteY144" fmla="*/ 222191 h 521294"/>
                <a:gd name="connsiteX145" fmla="*/ 5546221 w 7093010"/>
                <a:gd name="connsiteY145" fmla="*/ 324740 h 521294"/>
                <a:gd name="connsiteX146" fmla="*/ 5580404 w 7093010"/>
                <a:gd name="connsiteY146" fmla="*/ 264920 h 521294"/>
                <a:gd name="connsiteX147" fmla="*/ 5640225 w 7093010"/>
                <a:gd name="connsiteY147" fmla="*/ 153824 h 521294"/>
                <a:gd name="connsiteX148" fmla="*/ 5674408 w 7093010"/>
                <a:gd name="connsiteY148" fmla="*/ 128187 h 521294"/>
                <a:gd name="connsiteX149" fmla="*/ 5700045 w 7093010"/>
                <a:gd name="connsiteY149" fmla="*/ 111096 h 521294"/>
                <a:gd name="connsiteX150" fmla="*/ 5725683 w 7093010"/>
                <a:gd name="connsiteY150" fmla="*/ 102550 h 521294"/>
                <a:gd name="connsiteX151" fmla="*/ 5759866 w 7093010"/>
                <a:gd name="connsiteY151" fmla="*/ 222191 h 521294"/>
                <a:gd name="connsiteX152" fmla="*/ 5776957 w 7093010"/>
                <a:gd name="connsiteY152" fmla="*/ 273466 h 521294"/>
                <a:gd name="connsiteX153" fmla="*/ 5802595 w 7093010"/>
                <a:gd name="connsiteY153" fmla="*/ 350378 h 521294"/>
                <a:gd name="connsiteX154" fmla="*/ 5862415 w 7093010"/>
                <a:gd name="connsiteY154" fmla="*/ 239282 h 521294"/>
                <a:gd name="connsiteX155" fmla="*/ 5905144 w 7093010"/>
                <a:gd name="connsiteY155" fmla="*/ 179462 h 521294"/>
                <a:gd name="connsiteX156" fmla="*/ 5930782 w 7093010"/>
                <a:gd name="connsiteY156" fmla="*/ 136733 h 521294"/>
                <a:gd name="connsiteX157" fmla="*/ 5956419 w 7093010"/>
                <a:gd name="connsiteY157" fmla="*/ 170916 h 521294"/>
                <a:gd name="connsiteX158" fmla="*/ 5973511 w 7093010"/>
                <a:gd name="connsiteY158" fmla="*/ 222191 h 521294"/>
                <a:gd name="connsiteX159" fmla="*/ 5999148 w 7093010"/>
                <a:gd name="connsiteY159" fmla="*/ 282011 h 521294"/>
                <a:gd name="connsiteX160" fmla="*/ 6033331 w 7093010"/>
                <a:gd name="connsiteY160" fmla="*/ 273466 h 521294"/>
                <a:gd name="connsiteX161" fmla="*/ 6084606 w 7093010"/>
                <a:gd name="connsiteY161" fmla="*/ 213645 h 521294"/>
                <a:gd name="connsiteX162" fmla="*/ 6118789 w 7093010"/>
                <a:gd name="connsiteY162" fmla="*/ 188008 h 521294"/>
                <a:gd name="connsiteX163" fmla="*/ 6135881 w 7093010"/>
                <a:gd name="connsiteY163" fmla="*/ 145279 h 521294"/>
                <a:gd name="connsiteX164" fmla="*/ 6170064 w 7093010"/>
                <a:gd name="connsiteY164" fmla="*/ 136733 h 521294"/>
                <a:gd name="connsiteX165" fmla="*/ 6195701 w 7093010"/>
                <a:gd name="connsiteY165" fmla="*/ 119641 h 521294"/>
                <a:gd name="connsiteX166" fmla="*/ 6221339 w 7093010"/>
                <a:gd name="connsiteY166" fmla="*/ 162370 h 521294"/>
                <a:gd name="connsiteX167" fmla="*/ 6255522 w 7093010"/>
                <a:gd name="connsiteY167" fmla="*/ 358924 h 521294"/>
                <a:gd name="connsiteX168" fmla="*/ 6281159 w 7093010"/>
                <a:gd name="connsiteY168" fmla="*/ 495656 h 521294"/>
                <a:gd name="connsiteX169" fmla="*/ 6306797 w 7093010"/>
                <a:gd name="connsiteY169" fmla="*/ 521294 h 521294"/>
                <a:gd name="connsiteX170" fmla="*/ 6349526 w 7093010"/>
                <a:gd name="connsiteY170" fmla="*/ 461473 h 521294"/>
                <a:gd name="connsiteX171" fmla="*/ 6366617 w 7093010"/>
                <a:gd name="connsiteY171" fmla="*/ 410198 h 521294"/>
                <a:gd name="connsiteX172" fmla="*/ 6426438 w 7093010"/>
                <a:gd name="connsiteY172" fmla="*/ 290557 h 521294"/>
                <a:gd name="connsiteX173" fmla="*/ 6434984 w 7093010"/>
                <a:gd name="connsiteY173" fmla="*/ 256374 h 521294"/>
                <a:gd name="connsiteX174" fmla="*/ 6452075 w 7093010"/>
                <a:gd name="connsiteY174" fmla="*/ 230737 h 521294"/>
                <a:gd name="connsiteX175" fmla="*/ 6469167 w 7093010"/>
                <a:gd name="connsiteY175" fmla="*/ 196553 h 521294"/>
                <a:gd name="connsiteX176" fmla="*/ 6511896 w 7093010"/>
                <a:gd name="connsiteY176" fmla="*/ 350378 h 521294"/>
                <a:gd name="connsiteX177" fmla="*/ 6528987 w 7093010"/>
                <a:gd name="connsiteY177" fmla="*/ 324740 h 521294"/>
                <a:gd name="connsiteX178" fmla="*/ 6588808 w 7093010"/>
                <a:gd name="connsiteY178" fmla="*/ 247828 h 521294"/>
                <a:gd name="connsiteX179" fmla="*/ 6631537 w 7093010"/>
                <a:gd name="connsiteY179" fmla="*/ 196553 h 521294"/>
                <a:gd name="connsiteX180" fmla="*/ 6674266 w 7093010"/>
                <a:gd name="connsiteY180" fmla="*/ 247828 h 521294"/>
                <a:gd name="connsiteX181" fmla="*/ 6708449 w 7093010"/>
                <a:gd name="connsiteY181" fmla="*/ 239282 h 521294"/>
                <a:gd name="connsiteX182" fmla="*/ 6734086 w 7093010"/>
                <a:gd name="connsiteY182" fmla="*/ 179462 h 521294"/>
                <a:gd name="connsiteX183" fmla="*/ 6742632 w 7093010"/>
                <a:gd name="connsiteY183" fmla="*/ 153824 h 521294"/>
                <a:gd name="connsiteX184" fmla="*/ 6768270 w 7093010"/>
                <a:gd name="connsiteY184" fmla="*/ 136733 h 521294"/>
                <a:gd name="connsiteX185" fmla="*/ 6810999 w 7093010"/>
                <a:gd name="connsiteY185" fmla="*/ 111096 h 521294"/>
                <a:gd name="connsiteX186" fmla="*/ 6836636 w 7093010"/>
                <a:gd name="connsiteY186" fmla="*/ 94004 h 521294"/>
                <a:gd name="connsiteX187" fmla="*/ 6862273 w 7093010"/>
                <a:gd name="connsiteY187" fmla="*/ 102550 h 521294"/>
                <a:gd name="connsiteX188" fmla="*/ 6887911 w 7093010"/>
                <a:gd name="connsiteY188" fmla="*/ 119641 h 521294"/>
                <a:gd name="connsiteX189" fmla="*/ 6939185 w 7093010"/>
                <a:gd name="connsiteY189" fmla="*/ 59821 h 521294"/>
                <a:gd name="connsiteX190" fmla="*/ 6999006 w 7093010"/>
                <a:gd name="connsiteY190" fmla="*/ 162370 h 521294"/>
                <a:gd name="connsiteX191" fmla="*/ 7007552 w 7093010"/>
                <a:gd name="connsiteY191" fmla="*/ 205099 h 521294"/>
                <a:gd name="connsiteX192" fmla="*/ 7033189 w 7093010"/>
                <a:gd name="connsiteY192" fmla="*/ 213645 h 521294"/>
                <a:gd name="connsiteX193" fmla="*/ 7067372 w 7093010"/>
                <a:gd name="connsiteY193" fmla="*/ 162370 h 521294"/>
                <a:gd name="connsiteX194" fmla="*/ 7093010 w 7093010"/>
                <a:gd name="connsiteY194" fmla="*/ 128187 h 521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</a:cxnLst>
              <a:rect l="l" t="t" r="r" b="b"/>
              <a:pathLst>
                <a:path w="7093010" h="521294">
                  <a:moveTo>
                    <a:pt x="0" y="145279"/>
                  </a:moveTo>
                  <a:cubicBezTo>
                    <a:pt x="14243" y="142430"/>
                    <a:pt x="28382" y="138998"/>
                    <a:pt x="42729" y="136733"/>
                  </a:cubicBezTo>
                  <a:cubicBezTo>
                    <a:pt x="82522" y="130450"/>
                    <a:pt x="123156" y="128868"/>
                    <a:pt x="162371" y="119641"/>
                  </a:cubicBezTo>
                  <a:cubicBezTo>
                    <a:pt x="172369" y="117289"/>
                    <a:pt x="178822" y="107143"/>
                    <a:pt x="188008" y="102550"/>
                  </a:cubicBezTo>
                  <a:cubicBezTo>
                    <a:pt x="196065" y="98522"/>
                    <a:pt x="205099" y="96853"/>
                    <a:pt x="213645" y="94004"/>
                  </a:cubicBezTo>
                  <a:cubicBezTo>
                    <a:pt x="243697" y="99013"/>
                    <a:pt x="274263" y="98941"/>
                    <a:pt x="299103" y="119641"/>
                  </a:cubicBezTo>
                  <a:cubicBezTo>
                    <a:pt x="306993" y="126216"/>
                    <a:pt x="310498" y="136733"/>
                    <a:pt x="316195" y="145279"/>
                  </a:cubicBezTo>
                  <a:cubicBezTo>
                    <a:pt x="330438" y="142430"/>
                    <a:pt x="345324" y="141833"/>
                    <a:pt x="358924" y="136733"/>
                  </a:cubicBezTo>
                  <a:cubicBezTo>
                    <a:pt x="368541" y="133127"/>
                    <a:pt x="375644" y="124737"/>
                    <a:pt x="384561" y="119641"/>
                  </a:cubicBezTo>
                  <a:cubicBezTo>
                    <a:pt x="395622" y="113321"/>
                    <a:pt x="407608" y="108737"/>
                    <a:pt x="418744" y="102550"/>
                  </a:cubicBezTo>
                  <a:cubicBezTo>
                    <a:pt x="433264" y="94483"/>
                    <a:pt x="446051" y="83081"/>
                    <a:pt x="461473" y="76912"/>
                  </a:cubicBezTo>
                  <a:cubicBezTo>
                    <a:pt x="474959" y="71518"/>
                    <a:pt x="489959" y="71215"/>
                    <a:pt x="504202" y="68367"/>
                  </a:cubicBezTo>
                  <a:cubicBezTo>
                    <a:pt x="512748" y="62670"/>
                    <a:pt x="519672" y="49823"/>
                    <a:pt x="529840" y="51275"/>
                  </a:cubicBezTo>
                  <a:cubicBezTo>
                    <a:pt x="580191" y="58467"/>
                    <a:pt x="553851" y="78484"/>
                    <a:pt x="572569" y="102550"/>
                  </a:cubicBezTo>
                  <a:cubicBezTo>
                    <a:pt x="587408" y="121629"/>
                    <a:pt x="623843" y="153824"/>
                    <a:pt x="623843" y="153824"/>
                  </a:cubicBezTo>
                  <a:cubicBezTo>
                    <a:pt x="627739" y="165512"/>
                    <a:pt x="645223" y="219636"/>
                    <a:pt x="649481" y="222191"/>
                  </a:cubicBezTo>
                  <a:cubicBezTo>
                    <a:pt x="658288" y="227475"/>
                    <a:pt x="667389" y="211862"/>
                    <a:pt x="675118" y="205099"/>
                  </a:cubicBezTo>
                  <a:cubicBezTo>
                    <a:pt x="690277" y="191835"/>
                    <a:pt x="702688" y="175634"/>
                    <a:pt x="717847" y="162370"/>
                  </a:cubicBezTo>
                  <a:cubicBezTo>
                    <a:pt x="725577" y="155607"/>
                    <a:pt x="735595" y="151854"/>
                    <a:pt x="743485" y="145279"/>
                  </a:cubicBezTo>
                  <a:cubicBezTo>
                    <a:pt x="752769" y="137542"/>
                    <a:pt x="759288" y="126666"/>
                    <a:pt x="769122" y="119641"/>
                  </a:cubicBezTo>
                  <a:cubicBezTo>
                    <a:pt x="779488" y="112236"/>
                    <a:pt x="791911" y="108247"/>
                    <a:pt x="803305" y="102550"/>
                  </a:cubicBezTo>
                  <a:cubicBezTo>
                    <a:pt x="803348" y="102636"/>
                    <a:pt x="830779" y="161028"/>
                    <a:pt x="837488" y="162370"/>
                  </a:cubicBezTo>
                  <a:cubicBezTo>
                    <a:pt x="847559" y="164384"/>
                    <a:pt x="855449" y="152103"/>
                    <a:pt x="863126" y="145279"/>
                  </a:cubicBezTo>
                  <a:cubicBezTo>
                    <a:pt x="909131" y="104386"/>
                    <a:pt x="908937" y="101288"/>
                    <a:pt x="940038" y="59821"/>
                  </a:cubicBezTo>
                  <a:cubicBezTo>
                    <a:pt x="985616" y="128190"/>
                    <a:pt x="916485" y="42938"/>
                    <a:pt x="999858" y="51275"/>
                  </a:cubicBezTo>
                  <a:cubicBezTo>
                    <a:pt x="1019994" y="53289"/>
                    <a:pt x="1046637" y="101708"/>
                    <a:pt x="1059679" y="119641"/>
                  </a:cubicBezTo>
                  <a:cubicBezTo>
                    <a:pt x="1076434" y="142679"/>
                    <a:pt x="1110954" y="188008"/>
                    <a:pt x="1110954" y="188008"/>
                  </a:cubicBezTo>
                  <a:cubicBezTo>
                    <a:pt x="1190394" y="172120"/>
                    <a:pt x="1139981" y="189008"/>
                    <a:pt x="1239141" y="111096"/>
                  </a:cubicBezTo>
                  <a:cubicBezTo>
                    <a:pt x="1250341" y="102296"/>
                    <a:pt x="1273324" y="85458"/>
                    <a:pt x="1273324" y="85458"/>
                  </a:cubicBezTo>
                  <a:cubicBezTo>
                    <a:pt x="1290416" y="91155"/>
                    <a:pt x="1310378" y="91489"/>
                    <a:pt x="1324599" y="102550"/>
                  </a:cubicBezTo>
                  <a:cubicBezTo>
                    <a:pt x="1337710" y="112748"/>
                    <a:pt x="1341433" y="131194"/>
                    <a:pt x="1350236" y="145279"/>
                  </a:cubicBezTo>
                  <a:cubicBezTo>
                    <a:pt x="1355680" y="153989"/>
                    <a:pt x="1359308" y="164500"/>
                    <a:pt x="1367328" y="170916"/>
                  </a:cubicBezTo>
                  <a:cubicBezTo>
                    <a:pt x="1374362" y="176543"/>
                    <a:pt x="1384419" y="176613"/>
                    <a:pt x="1392965" y="179462"/>
                  </a:cubicBezTo>
                  <a:cubicBezTo>
                    <a:pt x="1401511" y="176613"/>
                    <a:pt x="1411492" y="176446"/>
                    <a:pt x="1418602" y="170916"/>
                  </a:cubicBezTo>
                  <a:cubicBezTo>
                    <a:pt x="1437682" y="156076"/>
                    <a:pt x="1469877" y="119641"/>
                    <a:pt x="1469877" y="119641"/>
                  </a:cubicBezTo>
                  <a:cubicBezTo>
                    <a:pt x="1472726" y="111095"/>
                    <a:pt x="1472053" y="100374"/>
                    <a:pt x="1478423" y="94004"/>
                  </a:cubicBezTo>
                  <a:cubicBezTo>
                    <a:pt x="1484793" y="87634"/>
                    <a:pt x="1495267" y="87412"/>
                    <a:pt x="1504060" y="85458"/>
                  </a:cubicBezTo>
                  <a:cubicBezTo>
                    <a:pt x="1520975" y="81699"/>
                    <a:pt x="1538243" y="79761"/>
                    <a:pt x="1555335" y="76912"/>
                  </a:cubicBezTo>
                  <a:cubicBezTo>
                    <a:pt x="1566729" y="94004"/>
                    <a:pt x="1578949" y="110573"/>
                    <a:pt x="1589518" y="128187"/>
                  </a:cubicBezTo>
                  <a:cubicBezTo>
                    <a:pt x="1601606" y="148333"/>
                    <a:pt x="1616266" y="189118"/>
                    <a:pt x="1632247" y="205099"/>
                  </a:cubicBezTo>
                  <a:cubicBezTo>
                    <a:pt x="1638617" y="211469"/>
                    <a:pt x="1649339" y="210796"/>
                    <a:pt x="1657885" y="213645"/>
                  </a:cubicBezTo>
                  <a:cubicBezTo>
                    <a:pt x="1660733" y="205099"/>
                    <a:pt x="1660061" y="194378"/>
                    <a:pt x="1666430" y="188008"/>
                  </a:cubicBezTo>
                  <a:cubicBezTo>
                    <a:pt x="1691070" y="163367"/>
                    <a:pt x="1712957" y="161421"/>
                    <a:pt x="1743342" y="153824"/>
                  </a:cubicBezTo>
                  <a:cubicBezTo>
                    <a:pt x="1754052" y="169889"/>
                    <a:pt x="1767928" y="199889"/>
                    <a:pt x="1794617" y="196553"/>
                  </a:cubicBezTo>
                  <a:cubicBezTo>
                    <a:pt x="1808750" y="194786"/>
                    <a:pt x="1816587" y="178244"/>
                    <a:pt x="1828800" y="170916"/>
                  </a:cubicBezTo>
                  <a:cubicBezTo>
                    <a:pt x="1861295" y="151419"/>
                    <a:pt x="1888424" y="141939"/>
                    <a:pt x="1922804" y="128187"/>
                  </a:cubicBezTo>
                  <a:cubicBezTo>
                    <a:pt x="1931350" y="131036"/>
                    <a:pt x="1940947" y="131736"/>
                    <a:pt x="1948442" y="136733"/>
                  </a:cubicBezTo>
                  <a:cubicBezTo>
                    <a:pt x="1958498" y="143437"/>
                    <a:pt x="1966828" y="152702"/>
                    <a:pt x="1974079" y="162370"/>
                  </a:cubicBezTo>
                  <a:cubicBezTo>
                    <a:pt x="1998296" y="194660"/>
                    <a:pt x="1997747" y="199192"/>
                    <a:pt x="2008262" y="230737"/>
                  </a:cubicBezTo>
                  <a:cubicBezTo>
                    <a:pt x="2025354" y="222191"/>
                    <a:pt x="2044857" y="217332"/>
                    <a:pt x="2059537" y="205099"/>
                  </a:cubicBezTo>
                  <a:cubicBezTo>
                    <a:pt x="2079713" y="188286"/>
                    <a:pt x="2095281" y="166457"/>
                    <a:pt x="2110812" y="145279"/>
                  </a:cubicBezTo>
                  <a:cubicBezTo>
                    <a:pt x="2147980" y="94596"/>
                    <a:pt x="2154834" y="63708"/>
                    <a:pt x="2196270" y="17092"/>
                  </a:cubicBezTo>
                  <a:cubicBezTo>
                    <a:pt x="2203093" y="9416"/>
                    <a:pt x="2213361" y="5697"/>
                    <a:pt x="2221907" y="0"/>
                  </a:cubicBezTo>
                  <a:cubicBezTo>
                    <a:pt x="2251258" y="88055"/>
                    <a:pt x="2240990" y="50695"/>
                    <a:pt x="2256090" y="111096"/>
                  </a:cubicBezTo>
                  <a:cubicBezTo>
                    <a:pt x="2273087" y="99765"/>
                    <a:pt x="2286136" y="81321"/>
                    <a:pt x="2307365" y="102550"/>
                  </a:cubicBezTo>
                  <a:cubicBezTo>
                    <a:pt x="2313735" y="108920"/>
                    <a:pt x="2313062" y="119641"/>
                    <a:pt x="2315911" y="128187"/>
                  </a:cubicBezTo>
                  <a:cubicBezTo>
                    <a:pt x="2330154" y="119641"/>
                    <a:pt x="2343784" y="109978"/>
                    <a:pt x="2358640" y="102550"/>
                  </a:cubicBezTo>
                  <a:cubicBezTo>
                    <a:pt x="2366697" y="98522"/>
                    <a:pt x="2377907" y="87634"/>
                    <a:pt x="2384277" y="94004"/>
                  </a:cubicBezTo>
                  <a:cubicBezTo>
                    <a:pt x="2394548" y="104275"/>
                    <a:pt x="2384766" y="124647"/>
                    <a:pt x="2392823" y="136733"/>
                  </a:cubicBezTo>
                  <a:cubicBezTo>
                    <a:pt x="2402941" y="151909"/>
                    <a:pt x="2421309" y="159522"/>
                    <a:pt x="2435552" y="170916"/>
                  </a:cubicBezTo>
                  <a:cubicBezTo>
                    <a:pt x="2438401" y="182310"/>
                    <a:pt x="2439471" y="194304"/>
                    <a:pt x="2444098" y="205099"/>
                  </a:cubicBezTo>
                  <a:cubicBezTo>
                    <a:pt x="2448144" y="214539"/>
                    <a:pt x="2451749" y="234783"/>
                    <a:pt x="2461189" y="230737"/>
                  </a:cubicBezTo>
                  <a:cubicBezTo>
                    <a:pt x="2481638" y="221973"/>
                    <a:pt x="2489675" y="196554"/>
                    <a:pt x="2503918" y="179462"/>
                  </a:cubicBezTo>
                  <a:cubicBezTo>
                    <a:pt x="2507148" y="166541"/>
                    <a:pt x="2512645" y="119641"/>
                    <a:pt x="2538101" y="119641"/>
                  </a:cubicBezTo>
                  <a:cubicBezTo>
                    <a:pt x="2547109" y="119641"/>
                    <a:pt x="2542618" y="137222"/>
                    <a:pt x="2546647" y="145279"/>
                  </a:cubicBezTo>
                  <a:cubicBezTo>
                    <a:pt x="2554075" y="160136"/>
                    <a:pt x="2563739" y="173765"/>
                    <a:pt x="2572285" y="188008"/>
                  </a:cubicBezTo>
                  <a:cubicBezTo>
                    <a:pt x="2580831" y="185159"/>
                    <a:pt x="2590101" y="183931"/>
                    <a:pt x="2597922" y="179462"/>
                  </a:cubicBezTo>
                  <a:cubicBezTo>
                    <a:pt x="2610288" y="172395"/>
                    <a:pt x="2618410" y="149911"/>
                    <a:pt x="2632105" y="153824"/>
                  </a:cubicBezTo>
                  <a:cubicBezTo>
                    <a:pt x="2648076" y="158387"/>
                    <a:pt x="2645997" y="184808"/>
                    <a:pt x="2657742" y="196553"/>
                  </a:cubicBezTo>
                  <a:cubicBezTo>
                    <a:pt x="2664112" y="202923"/>
                    <a:pt x="2674834" y="202250"/>
                    <a:pt x="2683380" y="205099"/>
                  </a:cubicBezTo>
                  <a:cubicBezTo>
                    <a:pt x="2717563" y="170916"/>
                    <a:pt x="2744476" y="127422"/>
                    <a:pt x="2785929" y="102550"/>
                  </a:cubicBezTo>
                  <a:cubicBezTo>
                    <a:pt x="2814415" y="85458"/>
                    <a:pt x="2842027" y="66818"/>
                    <a:pt x="2871387" y="51275"/>
                  </a:cubicBezTo>
                  <a:cubicBezTo>
                    <a:pt x="2890560" y="41125"/>
                    <a:pt x="2911458" y="34615"/>
                    <a:pt x="2931208" y="25638"/>
                  </a:cubicBezTo>
                  <a:cubicBezTo>
                    <a:pt x="2942805" y="20366"/>
                    <a:pt x="2953997" y="14243"/>
                    <a:pt x="2965391" y="8546"/>
                  </a:cubicBezTo>
                  <a:cubicBezTo>
                    <a:pt x="2973937" y="11395"/>
                    <a:pt x="2986031" y="9597"/>
                    <a:pt x="2991028" y="17092"/>
                  </a:cubicBezTo>
                  <a:cubicBezTo>
                    <a:pt x="2999085" y="29178"/>
                    <a:pt x="2996051" y="45730"/>
                    <a:pt x="2999574" y="59821"/>
                  </a:cubicBezTo>
                  <a:cubicBezTo>
                    <a:pt x="3001759" y="68560"/>
                    <a:pt x="3001750" y="79088"/>
                    <a:pt x="3008120" y="85458"/>
                  </a:cubicBezTo>
                  <a:cubicBezTo>
                    <a:pt x="3014490" y="91828"/>
                    <a:pt x="3025211" y="91155"/>
                    <a:pt x="3033757" y="94004"/>
                  </a:cubicBezTo>
                  <a:cubicBezTo>
                    <a:pt x="3045152" y="105398"/>
                    <a:pt x="3057454" y="115952"/>
                    <a:pt x="3067941" y="128187"/>
                  </a:cubicBezTo>
                  <a:cubicBezTo>
                    <a:pt x="3074625" y="135985"/>
                    <a:pt x="3078348" y="146026"/>
                    <a:pt x="3085032" y="153824"/>
                  </a:cubicBezTo>
                  <a:cubicBezTo>
                    <a:pt x="3095519" y="166059"/>
                    <a:pt x="3107821" y="176613"/>
                    <a:pt x="3119215" y="188008"/>
                  </a:cubicBezTo>
                  <a:cubicBezTo>
                    <a:pt x="3128056" y="214531"/>
                    <a:pt x="3124984" y="233513"/>
                    <a:pt x="3161944" y="196553"/>
                  </a:cubicBezTo>
                  <a:cubicBezTo>
                    <a:pt x="3184910" y="173587"/>
                    <a:pt x="3205055" y="147492"/>
                    <a:pt x="3221765" y="119641"/>
                  </a:cubicBezTo>
                  <a:cubicBezTo>
                    <a:pt x="3230311" y="105398"/>
                    <a:pt x="3235657" y="88657"/>
                    <a:pt x="3247402" y="76912"/>
                  </a:cubicBezTo>
                  <a:cubicBezTo>
                    <a:pt x="3253772" y="70542"/>
                    <a:pt x="3264494" y="71215"/>
                    <a:pt x="3273040" y="68367"/>
                  </a:cubicBezTo>
                  <a:cubicBezTo>
                    <a:pt x="3292631" y="127145"/>
                    <a:pt x="3265835" y="55761"/>
                    <a:pt x="3307223" y="128187"/>
                  </a:cubicBezTo>
                  <a:cubicBezTo>
                    <a:pt x="3332626" y="172641"/>
                    <a:pt x="3292757" y="138482"/>
                    <a:pt x="3341406" y="170916"/>
                  </a:cubicBezTo>
                  <a:cubicBezTo>
                    <a:pt x="3349952" y="168067"/>
                    <a:pt x="3360204" y="168232"/>
                    <a:pt x="3367043" y="162370"/>
                  </a:cubicBezTo>
                  <a:cubicBezTo>
                    <a:pt x="3380892" y="150500"/>
                    <a:pt x="3383235" y="122640"/>
                    <a:pt x="3401227" y="119641"/>
                  </a:cubicBezTo>
                  <a:cubicBezTo>
                    <a:pt x="3413793" y="117547"/>
                    <a:pt x="3412218" y="142640"/>
                    <a:pt x="3418318" y="153824"/>
                  </a:cubicBezTo>
                  <a:cubicBezTo>
                    <a:pt x="3429315" y="173986"/>
                    <a:pt x="3441107" y="193705"/>
                    <a:pt x="3452501" y="213645"/>
                  </a:cubicBezTo>
                  <a:cubicBezTo>
                    <a:pt x="3455350" y="230737"/>
                    <a:pt x="3453298" y="249422"/>
                    <a:pt x="3461047" y="264920"/>
                  </a:cubicBezTo>
                  <a:cubicBezTo>
                    <a:pt x="3465640" y="274106"/>
                    <a:pt x="3478271" y="287901"/>
                    <a:pt x="3486685" y="282011"/>
                  </a:cubicBezTo>
                  <a:cubicBezTo>
                    <a:pt x="3534010" y="248883"/>
                    <a:pt x="3563436" y="161345"/>
                    <a:pt x="3597780" y="119641"/>
                  </a:cubicBezTo>
                  <a:cubicBezTo>
                    <a:pt x="3629670" y="80917"/>
                    <a:pt x="3676182" y="53131"/>
                    <a:pt x="3717421" y="25638"/>
                  </a:cubicBezTo>
                  <a:cubicBezTo>
                    <a:pt x="3723118" y="37032"/>
                    <a:pt x="3730485" y="47735"/>
                    <a:pt x="3734513" y="59821"/>
                  </a:cubicBezTo>
                  <a:cubicBezTo>
                    <a:pt x="3739106" y="73601"/>
                    <a:pt x="3732787" y="92279"/>
                    <a:pt x="3743058" y="102550"/>
                  </a:cubicBezTo>
                  <a:cubicBezTo>
                    <a:pt x="3749428" y="108920"/>
                    <a:pt x="3760150" y="96853"/>
                    <a:pt x="3768696" y="94004"/>
                  </a:cubicBezTo>
                  <a:cubicBezTo>
                    <a:pt x="3777242" y="85458"/>
                    <a:pt x="3785787" y="59821"/>
                    <a:pt x="3794333" y="68367"/>
                  </a:cubicBezTo>
                  <a:cubicBezTo>
                    <a:pt x="3810943" y="84977"/>
                    <a:pt x="3807343" y="113600"/>
                    <a:pt x="3811425" y="136733"/>
                  </a:cubicBezTo>
                  <a:cubicBezTo>
                    <a:pt x="3816634" y="166251"/>
                    <a:pt x="3815534" y="234781"/>
                    <a:pt x="3837062" y="264920"/>
                  </a:cubicBezTo>
                  <a:cubicBezTo>
                    <a:pt x="3842298" y="272250"/>
                    <a:pt x="3854154" y="270617"/>
                    <a:pt x="3862700" y="273466"/>
                  </a:cubicBezTo>
                  <a:cubicBezTo>
                    <a:pt x="3938748" y="258256"/>
                    <a:pt x="3881713" y="281869"/>
                    <a:pt x="3931066" y="205099"/>
                  </a:cubicBezTo>
                  <a:cubicBezTo>
                    <a:pt x="3945268" y="183007"/>
                    <a:pt x="3966425" y="166169"/>
                    <a:pt x="3982341" y="145279"/>
                  </a:cubicBezTo>
                  <a:cubicBezTo>
                    <a:pt x="4086157" y="9021"/>
                    <a:pt x="4024425" y="54555"/>
                    <a:pt x="4093436" y="8546"/>
                  </a:cubicBezTo>
                  <a:cubicBezTo>
                    <a:pt x="4101982" y="31335"/>
                    <a:pt x="4112387" y="53510"/>
                    <a:pt x="4119073" y="76912"/>
                  </a:cubicBezTo>
                  <a:cubicBezTo>
                    <a:pt x="4125264" y="98580"/>
                    <a:pt x="4125501" y="151706"/>
                    <a:pt x="4144711" y="170916"/>
                  </a:cubicBezTo>
                  <a:cubicBezTo>
                    <a:pt x="4153016" y="179221"/>
                    <a:pt x="4167500" y="176613"/>
                    <a:pt x="4178894" y="179462"/>
                  </a:cubicBezTo>
                  <a:cubicBezTo>
                    <a:pt x="4187440" y="173765"/>
                    <a:pt x="4197268" y="169633"/>
                    <a:pt x="4204531" y="162370"/>
                  </a:cubicBezTo>
                  <a:cubicBezTo>
                    <a:pt x="4214602" y="152299"/>
                    <a:pt x="4217430" y="134557"/>
                    <a:pt x="4230169" y="128187"/>
                  </a:cubicBezTo>
                  <a:cubicBezTo>
                    <a:pt x="4238226" y="124159"/>
                    <a:pt x="4247260" y="133884"/>
                    <a:pt x="4255806" y="136733"/>
                  </a:cubicBezTo>
                  <a:cubicBezTo>
                    <a:pt x="4256255" y="139876"/>
                    <a:pt x="4264690" y="232581"/>
                    <a:pt x="4281443" y="239282"/>
                  </a:cubicBezTo>
                  <a:cubicBezTo>
                    <a:pt x="4292664" y="243771"/>
                    <a:pt x="4298535" y="222191"/>
                    <a:pt x="4307081" y="213645"/>
                  </a:cubicBezTo>
                  <a:cubicBezTo>
                    <a:pt x="4311318" y="205171"/>
                    <a:pt x="4332487" y="153824"/>
                    <a:pt x="4349810" y="153824"/>
                  </a:cubicBezTo>
                  <a:cubicBezTo>
                    <a:pt x="4360081" y="153824"/>
                    <a:pt x="4361805" y="170544"/>
                    <a:pt x="4366901" y="179462"/>
                  </a:cubicBezTo>
                  <a:cubicBezTo>
                    <a:pt x="4386764" y="214222"/>
                    <a:pt x="4383192" y="210439"/>
                    <a:pt x="4392539" y="247828"/>
                  </a:cubicBezTo>
                  <a:cubicBezTo>
                    <a:pt x="4403933" y="244979"/>
                    <a:pt x="4417326" y="246329"/>
                    <a:pt x="4426722" y="239282"/>
                  </a:cubicBezTo>
                  <a:cubicBezTo>
                    <a:pt x="4450986" y="221083"/>
                    <a:pt x="4482408" y="158923"/>
                    <a:pt x="4495088" y="136733"/>
                  </a:cubicBezTo>
                  <a:cubicBezTo>
                    <a:pt x="4503634" y="150976"/>
                    <a:pt x="4513298" y="164605"/>
                    <a:pt x="4520726" y="179462"/>
                  </a:cubicBezTo>
                  <a:cubicBezTo>
                    <a:pt x="4533323" y="204655"/>
                    <a:pt x="4557249" y="271923"/>
                    <a:pt x="4580546" y="299103"/>
                  </a:cubicBezTo>
                  <a:cubicBezTo>
                    <a:pt x="4587230" y="306901"/>
                    <a:pt x="4597638" y="310498"/>
                    <a:pt x="4606184" y="316195"/>
                  </a:cubicBezTo>
                  <a:cubicBezTo>
                    <a:pt x="4617578" y="307649"/>
                    <a:pt x="4631098" y="301371"/>
                    <a:pt x="4640367" y="290557"/>
                  </a:cubicBezTo>
                  <a:cubicBezTo>
                    <a:pt x="4665582" y="261139"/>
                    <a:pt x="4708733" y="196553"/>
                    <a:pt x="4708733" y="196553"/>
                  </a:cubicBezTo>
                  <a:cubicBezTo>
                    <a:pt x="4723040" y="139327"/>
                    <a:pt x="4707866" y="161503"/>
                    <a:pt x="4751462" y="205099"/>
                  </a:cubicBezTo>
                  <a:cubicBezTo>
                    <a:pt x="4758725" y="212362"/>
                    <a:pt x="4768554" y="216494"/>
                    <a:pt x="4777100" y="222191"/>
                  </a:cubicBezTo>
                  <a:cubicBezTo>
                    <a:pt x="4844340" y="135739"/>
                    <a:pt x="4813954" y="168245"/>
                    <a:pt x="4862557" y="119641"/>
                  </a:cubicBezTo>
                  <a:cubicBezTo>
                    <a:pt x="4865406" y="131035"/>
                    <a:pt x="4868800" y="142307"/>
                    <a:pt x="4871103" y="153824"/>
                  </a:cubicBezTo>
                  <a:cubicBezTo>
                    <a:pt x="4877349" y="185054"/>
                    <a:pt x="4878124" y="217614"/>
                    <a:pt x="4888195" y="247828"/>
                  </a:cubicBezTo>
                  <a:cubicBezTo>
                    <a:pt x="4892699" y="261340"/>
                    <a:pt x="4907012" y="269507"/>
                    <a:pt x="4913832" y="282011"/>
                  </a:cubicBezTo>
                  <a:cubicBezTo>
                    <a:pt x="4952747" y="353354"/>
                    <a:pt x="4914850" y="333625"/>
                    <a:pt x="4965107" y="350378"/>
                  </a:cubicBezTo>
                  <a:cubicBezTo>
                    <a:pt x="5000827" y="328053"/>
                    <a:pt x="5051742" y="303356"/>
                    <a:pt x="5076202" y="264920"/>
                  </a:cubicBezTo>
                  <a:cubicBezTo>
                    <a:pt x="5101332" y="225430"/>
                    <a:pt x="5086106" y="216177"/>
                    <a:pt x="5101840" y="179462"/>
                  </a:cubicBezTo>
                  <a:cubicBezTo>
                    <a:pt x="5105886" y="170022"/>
                    <a:pt x="5113234" y="162370"/>
                    <a:pt x="5118931" y="153824"/>
                  </a:cubicBezTo>
                  <a:cubicBezTo>
                    <a:pt x="5124628" y="165219"/>
                    <a:pt x="5123382" y="186428"/>
                    <a:pt x="5136023" y="188008"/>
                  </a:cubicBezTo>
                  <a:cubicBezTo>
                    <a:pt x="5173230" y="192659"/>
                    <a:pt x="5189197" y="159522"/>
                    <a:pt x="5204389" y="136733"/>
                  </a:cubicBezTo>
                  <a:cubicBezTo>
                    <a:pt x="5229410" y="236812"/>
                    <a:pt x="5189291" y="90442"/>
                    <a:pt x="5238572" y="213645"/>
                  </a:cubicBezTo>
                  <a:cubicBezTo>
                    <a:pt x="5260783" y="269174"/>
                    <a:pt x="5225959" y="249321"/>
                    <a:pt x="5272756" y="264920"/>
                  </a:cubicBezTo>
                  <a:cubicBezTo>
                    <a:pt x="5284150" y="253526"/>
                    <a:pt x="5297573" y="243850"/>
                    <a:pt x="5306939" y="230737"/>
                  </a:cubicBezTo>
                  <a:cubicBezTo>
                    <a:pt x="5312175" y="223407"/>
                    <a:pt x="5306477" y="205099"/>
                    <a:pt x="5315485" y="205099"/>
                  </a:cubicBezTo>
                  <a:cubicBezTo>
                    <a:pt x="5324493" y="205099"/>
                    <a:pt x="5321845" y="221998"/>
                    <a:pt x="5324030" y="230737"/>
                  </a:cubicBezTo>
                  <a:cubicBezTo>
                    <a:pt x="5327553" y="244828"/>
                    <a:pt x="5329727" y="259223"/>
                    <a:pt x="5332576" y="273466"/>
                  </a:cubicBezTo>
                  <a:cubicBezTo>
                    <a:pt x="5415319" y="211407"/>
                    <a:pt x="5319062" y="293736"/>
                    <a:pt x="5383851" y="196553"/>
                  </a:cubicBezTo>
                  <a:cubicBezTo>
                    <a:pt x="5394944" y="179914"/>
                    <a:pt x="5435063" y="162401"/>
                    <a:pt x="5452217" y="153824"/>
                  </a:cubicBezTo>
                  <a:cubicBezTo>
                    <a:pt x="5496518" y="87373"/>
                    <a:pt x="5473568" y="86510"/>
                    <a:pt x="5520584" y="145279"/>
                  </a:cubicBezTo>
                  <a:cubicBezTo>
                    <a:pt x="5526281" y="170916"/>
                    <a:pt x="5533961" y="196192"/>
                    <a:pt x="5537675" y="222191"/>
                  </a:cubicBezTo>
                  <a:cubicBezTo>
                    <a:pt x="5542526" y="256148"/>
                    <a:pt x="5521966" y="300485"/>
                    <a:pt x="5546221" y="324740"/>
                  </a:cubicBezTo>
                  <a:cubicBezTo>
                    <a:pt x="5562460" y="340979"/>
                    <a:pt x="5569516" y="285141"/>
                    <a:pt x="5580404" y="264920"/>
                  </a:cubicBezTo>
                  <a:cubicBezTo>
                    <a:pt x="5664203" y="109294"/>
                    <a:pt x="5539005" y="330962"/>
                    <a:pt x="5640225" y="153824"/>
                  </a:cubicBezTo>
                  <a:cubicBezTo>
                    <a:pt x="5657899" y="65461"/>
                    <a:pt x="5631656" y="128187"/>
                    <a:pt x="5674408" y="128187"/>
                  </a:cubicBezTo>
                  <a:cubicBezTo>
                    <a:pt x="5684679" y="128187"/>
                    <a:pt x="5690859" y="115689"/>
                    <a:pt x="5700045" y="111096"/>
                  </a:cubicBezTo>
                  <a:cubicBezTo>
                    <a:pt x="5708102" y="107067"/>
                    <a:pt x="5717137" y="105399"/>
                    <a:pt x="5725683" y="102550"/>
                  </a:cubicBezTo>
                  <a:cubicBezTo>
                    <a:pt x="5775931" y="219795"/>
                    <a:pt x="5732768" y="104765"/>
                    <a:pt x="5759866" y="222191"/>
                  </a:cubicBezTo>
                  <a:cubicBezTo>
                    <a:pt x="5763917" y="239746"/>
                    <a:pt x="5772587" y="255988"/>
                    <a:pt x="5776957" y="273466"/>
                  </a:cubicBezTo>
                  <a:cubicBezTo>
                    <a:pt x="5795378" y="347151"/>
                    <a:pt x="5771039" y="303044"/>
                    <a:pt x="5802595" y="350378"/>
                  </a:cubicBezTo>
                  <a:cubicBezTo>
                    <a:pt x="5923338" y="169262"/>
                    <a:pt x="5749978" y="436047"/>
                    <a:pt x="5862415" y="239282"/>
                  </a:cubicBezTo>
                  <a:cubicBezTo>
                    <a:pt x="5874573" y="218006"/>
                    <a:pt x="5891551" y="199851"/>
                    <a:pt x="5905144" y="179462"/>
                  </a:cubicBezTo>
                  <a:cubicBezTo>
                    <a:pt x="5914358" y="165642"/>
                    <a:pt x="5922236" y="150976"/>
                    <a:pt x="5930782" y="136733"/>
                  </a:cubicBezTo>
                  <a:cubicBezTo>
                    <a:pt x="5939328" y="148127"/>
                    <a:pt x="5950049" y="158177"/>
                    <a:pt x="5956419" y="170916"/>
                  </a:cubicBezTo>
                  <a:cubicBezTo>
                    <a:pt x="5964476" y="187030"/>
                    <a:pt x="5967044" y="205376"/>
                    <a:pt x="5973511" y="222191"/>
                  </a:cubicBezTo>
                  <a:cubicBezTo>
                    <a:pt x="5981299" y="242439"/>
                    <a:pt x="5990602" y="262071"/>
                    <a:pt x="5999148" y="282011"/>
                  </a:cubicBezTo>
                  <a:cubicBezTo>
                    <a:pt x="6010542" y="279163"/>
                    <a:pt x="6023133" y="279293"/>
                    <a:pt x="6033331" y="273466"/>
                  </a:cubicBezTo>
                  <a:cubicBezTo>
                    <a:pt x="6055037" y="261062"/>
                    <a:pt x="6068219" y="230032"/>
                    <a:pt x="6084606" y="213645"/>
                  </a:cubicBezTo>
                  <a:cubicBezTo>
                    <a:pt x="6094677" y="203574"/>
                    <a:pt x="6107395" y="196554"/>
                    <a:pt x="6118789" y="188008"/>
                  </a:cubicBezTo>
                  <a:cubicBezTo>
                    <a:pt x="6124486" y="173765"/>
                    <a:pt x="6125034" y="156126"/>
                    <a:pt x="6135881" y="145279"/>
                  </a:cubicBezTo>
                  <a:cubicBezTo>
                    <a:pt x="6144186" y="136974"/>
                    <a:pt x="6159269" y="141360"/>
                    <a:pt x="6170064" y="136733"/>
                  </a:cubicBezTo>
                  <a:cubicBezTo>
                    <a:pt x="6179504" y="132687"/>
                    <a:pt x="6187155" y="125338"/>
                    <a:pt x="6195701" y="119641"/>
                  </a:cubicBezTo>
                  <a:cubicBezTo>
                    <a:pt x="6204247" y="133884"/>
                    <a:pt x="6215752" y="146728"/>
                    <a:pt x="6221339" y="162370"/>
                  </a:cubicBezTo>
                  <a:cubicBezTo>
                    <a:pt x="6235964" y="203320"/>
                    <a:pt x="6251904" y="328772"/>
                    <a:pt x="6255522" y="358924"/>
                  </a:cubicBezTo>
                  <a:cubicBezTo>
                    <a:pt x="6261501" y="408752"/>
                    <a:pt x="6254312" y="452700"/>
                    <a:pt x="6281159" y="495656"/>
                  </a:cubicBezTo>
                  <a:cubicBezTo>
                    <a:pt x="6287564" y="505905"/>
                    <a:pt x="6298251" y="512748"/>
                    <a:pt x="6306797" y="521294"/>
                  </a:cubicBezTo>
                  <a:cubicBezTo>
                    <a:pt x="6321040" y="501354"/>
                    <a:pt x="6337908" y="483049"/>
                    <a:pt x="6349526" y="461473"/>
                  </a:cubicBezTo>
                  <a:cubicBezTo>
                    <a:pt x="6358067" y="445610"/>
                    <a:pt x="6359926" y="426926"/>
                    <a:pt x="6366617" y="410198"/>
                  </a:cubicBezTo>
                  <a:cubicBezTo>
                    <a:pt x="6395267" y="338572"/>
                    <a:pt x="6393635" y="345227"/>
                    <a:pt x="6426438" y="290557"/>
                  </a:cubicBezTo>
                  <a:cubicBezTo>
                    <a:pt x="6429287" y="279163"/>
                    <a:pt x="6430357" y="267169"/>
                    <a:pt x="6434984" y="256374"/>
                  </a:cubicBezTo>
                  <a:cubicBezTo>
                    <a:pt x="6439030" y="246934"/>
                    <a:pt x="6446979" y="239654"/>
                    <a:pt x="6452075" y="230737"/>
                  </a:cubicBezTo>
                  <a:cubicBezTo>
                    <a:pt x="6458396" y="219676"/>
                    <a:pt x="6463470" y="207948"/>
                    <a:pt x="6469167" y="196553"/>
                  </a:cubicBezTo>
                  <a:cubicBezTo>
                    <a:pt x="6508829" y="315541"/>
                    <a:pt x="6497426" y="263561"/>
                    <a:pt x="6511896" y="350378"/>
                  </a:cubicBezTo>
                  <a:cubicBezTo>
                    <a:pt x="6517593" y="341832"/>
                    <a:pt x="6522825" y="332957"/>
                    <a:pt x="6528987" y="324740"/>
                  </a:cubicBezTo>
                  <a:cubicBezTo>
                    <a:pt x="6548474" y="298757"/>
                    <a:pt x="6570791" y="274852"/>
                    <a:pt x="6588808" y="247828"/>
                  </a:cubicBezTo>
                  <a:cubicBezTo>
                    <a:pt x="6612604" y="212135"/>
                    <a:pt x="6598638" y="229454"/>
                    <a:pt x="6631537" y="196553"/>
                  </a:cubicBezTo>
                  <a:cubicBezTo>
                    <a:pt x="6645780" y="213645"/>
                    <a:pt x="6654817" y="237023"/>
                    <a:pt x="6674266" y="247828"/>
                  </a:cubicBezTo>
                  <a:cubicBezTo>
                    <a:pt x="6684533" y="253532"/>
                    <a:pt x="6700715" y="248121"/>
                    <a:pt x="6708449" y="239282"/>
                  </a:cubicBezTo>
                  <a:cubicBezTo>
                    <a:pt x="6722735" y="222956"/>
                    <a:pt x="6726029" y="199604"/>
                    <a:pt x="6734086" y="179462"/>
                  </a:cubicBezTo>
                  <a:cubicBezTo>
                    <a:pt x="6737432" y="171098"/>
                    <a:pt x="6737004" y="160858"/>
                    <a:pt x="6742632" y="153824"/>
                  </a:cubicBezTo>
                  <a:cubicBezTo>
                    <a:pt x="6749048" y="145804"/>
                    <a:pt x="6759724" y="142430"/>
                    <a:pt x="6768270" y="136733"/>
                  </a:cubicBezTo>
                  <a:cubicBezTo>
                    <a:pt x="6813784" y="151905"/>
                    <a:pt x="6778860" y="149663"/>
                    <a:pt x="6810999" y="111096"/>
                  </a:cubicBezTo>
                  <a:cubicBezTo>
                    <a:pt x="6817574" y="103206"/>
                    <a:pt x="6828090" y="99701"/>
                    <a:pt x="6836636" y="94004"/>
                  </a:cubicBezTo>
                  <a:cubicBezTo>
                    <a:pt x="6845182" y="96853"/>
                    <a:pt x="6854216" y="98522"/>
                    <a:pt x="6862273" y="102550"/>
                  </a:cubicBezTo>
                  <a:cubicBezTo>
                    <a:pt x="6871460" y="107143"/>
                    <a:pt x="6878035" y="122463"/>
                    <a:pt x="6887911" y="119641"/>
                  </a:cubicBezTo>
                  <a:cubicBezTo>
                    <a:pt x="6904977" y="114765"/>
                    <a:pt x="6928694" y="75558"/>
                    <a:pt x="6939185" y="59821"/>
                  </a:cubicBezTo>
                  <a:cubicBezTo>
                    <a:pt x="6959125" y="94004"/>
                    <a:pt x="6991245" y="123565"/>
                    <a:pt x="6999006" y="162370"/>
                  </a:cubicBezTo>
                  <a:cubicBezTo>
                    <a:pt x="7001855" y="176613"/>
                    <a:pt x="6999495" y="193013"/>
                    <a:pt x="7007552" y="205099"/>
                  </a:cubicBezTo>
                  <a:cubicBezTo>
                    <a:pt x="7012549" y="212594"/>
                    <a:pt x="7024643" y="210796"/>
                    <a:pt x="7033189" y="213645"/>
                  </a:cubicBezTo>
                  <a:cubicBezTo>
                    <a:pt x="7044583" y="196553"/>
                    <a:pt x="7057396" y="180327"/>
                    <a:pt x="7067372" y="162370"/>
                  </a:cubicBezTo>
                  <a:cubicBezTo>
                    <a:pt x="7087680" y="125817"/>
                    <a:pt x="7060969" y="144208"/>
                    <a:pt x="7093010" y="128187"/>
                  </a:cubicBezTo>
                </a:path>
              </a:pathLst>
            </a:cu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dirty="0"/>
            </a:p>
          </p:txBody>
        </p:sp>
        <p:cxnSp>
          <p:nvCxnSpPr>
            <p:cNvPr id="32" name="Straight Arrow Connector 31"/>
            <p:cNvCxnSpPr/>
            <p:nvPr/>
          </p:nvCxnSpPr>
          <p:spPr>
            <a:xfrm>
              <a:off x="2462259" y="4731151"/>
              <a:ext cx="0" cy="212631"/>
            </a:xfrm>
            <a:prstGeom prst="straightConnector1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TextBox 32"/>
            <p:cNvSpPr txBox="1"/>
            <p:nvPr/>
          </p:nvSpPr>
          <p:spPr>
            <a:xfrm>
              <a:off x="2804007" y="4732670"/>
              <a:ext cx="1028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dirty="0"/>
                <a:t>Track Irregularities</a:t>
              </a:r>
            </a:p>
          </p:txBody>
        </p:sp>
        <p:cxnSp>
          <p:nvCxnSpPr>
            <p:cNvPr id="34" name="Straight Connector 33"/>
            <p:cNvCxnSpPr/>
            <p:nvPr/>
          </p:nvCxnSpPr>
          <p:spPr>
            <a:xfrm flipH="1">
              <a:off x="2315969" y="3362932"/>
              <a:ext cx="303158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/>
          </p:nvCxnSpPr>
          <p:spPr>
            <a:xfrm flipH="1">
              <a:off x="2347049" y="3315257"/>
              <a:ext cx="226958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/>
          </p:nvCxnSpPr>
          <p:spPr>
            <a:xfrm flipH="1">
              <a:off x="2397895" y="3283351"/>
              <a:ext cx="113479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Oval 36"/>
            <p:cNvSpPr/>
            <p:nvPr/>
          </p:nvSpPr>
          <p:spPr>
            <a:xfrm>
              <a:off x="2269057" y="4774560"/>
              <a:ext cx="407032" cy="381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dirty="0"/>
            </a:p>
          </p:txBody>
        </p:sp>
      </p:grpSp>
    </p:spTree>
    <p:extLst>
      <p:ext uri="{BB962C8B-B14F-4D97-AF65-F5344CB8AC3E}">
        <p14:creationId xmlns:p14="http://schemas.microsoft.com/office/powerpoint/2010/main" val="12890798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1245" y="100070"/>
            <a:ext cx="6935788" cy="668338"/>
          </a:xfrm>
        </p:spPr>
        <p:txBody>
          <a:bodyPr/>
          <a:lstStyle/>
          <a:p>
            <a:r>
              <a:rPr lang="en-US" dirty="0"/>
              <a:t>Skyhook</a:t>
            </a:r>
            <a:endParaRPr lang="sv-S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3"/>
              </p:nvPr>
            </p:nvSpPr>
            <p:spPr>
              <a:xfrm>
                <a:off x="1671299" y="955583"/>
                <a:ext cx="6862738" cy="4822974"/>
              </a:xfrm>
            </p:spPr>
            <p:txBody>
              <a:bodyPr>
                <a:normAutofit lnSpcReduction="10000"/>
              </a:bodyPr>
              <a:lstStyle/>
              <a:p>
                <a:r>
                  <a:rPr lang="en-US" dirty="0"/>
                  <a:t>	     </a:t>
                </a:r>
                <a:r>
                  <a:rPr lang="en-US" sz="1800" dirty="0"/>
                  <a:t>Damper</a:t>
                </a:r>
                <a:r>
                  <a:rPr lang="en-US" dirty="0"/>
                  <a:t>			</a:t>
                </a:r>
                <a:r>
                  <a:rPr lang="en-US" sz="1800" dirty="0"/>
                  <a:t>Skyhook</a:t>
                </a:r>
                <a:endParaRPr lang="en-US" dirty="0"/>
              </a:p>
              <a:p>
                <a:endParaRPr lang="en-US" dirty="0"/>
              </a:p>
              <a:p>
                <a:endParaRPr lang="en-US" dirty="0"/>
              </a:p>
              <a:p>
                <a:endParaRPr lang="en-US" dirty="0"/>
              </a:p>
              <a:p>
                <a:endParaRPr lang="en-US" dirty="0"/>
              </a:p>
              <a:p>
                <a:r>
                  <a:rPr lang="sv-SE" dirty="0"/>
                  <a:t>    </a:t>
                </a:r>
              </a:p>
              <a:p>
                <a:r>
                  <a:rPr lang="sv-SE" sz="1600" dirty="0"/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sv-SE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1600" i="1">
                            <a:latin typeface="Cambria Math"/>
                          </a:rPr>
                          <m:t>𝐹</m:t>
                        </m:r>
                      </m:e>
                      <m:sub>
                        <m:sSub>
                          <m:sSubPr>
                            <m:ctrlPr>
                              <a:rPr lang="sv-SE" sz="16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GB" sz="1600" i="1">
                                <a:latin typeface="Cambria Math"/>
                              </a:rPr>
                              <m:t>𝑐</m:t>
                            </m:r>
                          </m:e>
                          <m:sub>
                            <m:r>
                              <a:rPr lang="en-GB" sz="1600" i="1">
                                <a:latin typeface="Cambria Math"/>
                              </a:rPr>
                              <m:t>𝑝</m:t>
                            </m:r>
                          </m:sub>
                        </m:sSub>
                      </m:sub>
                    </m:sSub>
                    <m:r>
                      <a:rPr lang="en-GB" sz="1600" i="1">
                        <a:latin typeface="Cambria Math"/>
                      </a:rPr>
                      <m:t>=</m:t>
                    </m:r>
                    <m:sSub>
                      <m:sSubPr>
                        <m:ctrlPr>
                          <a:rPr lang="sv-SE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1600" i="1">
                            <a:latin typeface="Cambria Math"/>
                          </a:rPr>
                          <m:t>−</m:t>
                        </m:r>
                        <m:r>
                          <a:rPr lang="en-GB" sz="1600" i="1">
                            <a:latin typeface="Cambria Math"/>
                          </a:rPr>
                          <m:t>𝑐</m:t>
                        </m:r>
                      </m:e>
                      <m:sub>
                        <m:r>
                          <a:rPr lang="en-GB" sz="1600" i="1">
                            <a:latin typeface="Cambria Math"/>
                          </a:rPr>
                          <m:t>𝑝</m:t>
                        </m:r>
                      </m:sub>
                    </m:sSub>
                    <m:r>
                      <a:rPr lang="en-GB" sz="1600" i="1">
                        <a:latin typeface="Cambria Math"/>
                      </a:rPr>
                      <m:t>.(</m:t>
                    </m:r>
                    <m:sSub>
                      <m:sSubPr>
                        <m:ctrlPr>
                          <a:rPr lang="sv-SE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acc>
                          <m:accPr>
                            <m:chr m:val="̇"/>
                            <m:ctrlPr>
                              <a:rPr lang="sv-SE" sz="1600" i="1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GB" sz="1600" i="1">
                                <a:latin typeface="Cambria Math"/>
                              </a:rPr>
                              <m:t>𝑧</m:t>
                            </m:r>
                          </m:e>
                        </m:acc>
                      </m:e>
                      <m:sub>
                        <m:r>
                          <a:rPr lang="en-GB" sz="1600" i="1">
                            <a:latin typeface="Cambria Math"/>
                          </a:rPr>
                          <m:t>𝑝</m:t>
                        </m:r>
                      </m:sub>
                    </m:sSub>
                    <m:r>
                      <a:rPr lang="en-GB" sz="1600" i="1">
                        <a:latin typeface="Cambria Math"/>
                      </a:rPr>
                      <m:t>−</m:t>
                    </m:r>
                    <m:sSub>
                      <m:sSubPr>
                        <m:ctrlPr>
                          <a:rPr lang="sv-SE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acc>
                          <m:accPr>
                            <m:chr m:val="̇"/>
                            <m:ctrlPr>
                              <a:rPr lang="sv-SE" sz="1600" i="1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GB" sz="1600" i="1">
                                <a:latin typeface="Cambria Math"/>
                              </a:rPr>
                              <m:t>𝑧</m:t>
                            </m:r>
                          </m:e>
                        </m:acc>
                      </m:e>
                      <m:sub>
                        <m:r>
                          <a:rPr lang="en-GB" sz="1600" i="1">
                            <a:latin typeface="Cambria Math"/>
                          </a:rPr>
                          <m:t>𝑤</m:t>
                        </m:r>
                      </m:sub>
                    </m:sSub>
                    <m:r>
                      <a:rPr lang="en-GB" sz="1600" i="1">
                        <a:latin typeface="Cambria Math"/>
                      </a:rPr>
                      <m:t>)</m:t>
                    </m:r>
                  </m:oMath>
                </a14:m>
                <a:r>
                  <a:rPr lang="sv-SE" dirty="0"/>
                  <a:t>			</a:t>
                </a:r>
                <a14:m>
                  <m:oMath xmlns:m="http://schemas.openxmlformats.org/officeDocument/2006/math">
                    <m:r>
                      <a:rPr lang="en-US" sz="1600" i="1">
                        <a:latin typeface="Cambria Math"/>
                      </a:rPr>
                      <m:t>𝐹</m:t>
                    </m:r>
                    <m:r>
                      <a:rPr lang="en-US" sz="1600" i="1">
                        <a:latin typeface="Cambria Math"/>
                      </a:rPr>
                      <m:t>=−</m:t>
                    </m:r>
                    <m:sSub>
                      <m:sSubPr>
                        <m:ctrlPr>
                          <a:rPr lang="sv-SE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600" i="1">
                            <a:latin typeface="Cambria Math"/>
                          </a:rPr>
                          <m:t>𝑐</m:t>
                        </m:r>
                      </m:e>
                      <m:sub>
                        <m:r>
                          <a:rPr lang="en-US" sz="1600" i="1">
                            <a:latin typeface="Cambria Math"/>
                          </a:rPr>
                          <m:t>𝑝</m:t>
                        </m:r>
                      </m:sub>
                    </m:sSub>
                    <m:r>
                      <a:rPr lang="en-US" sz="1600" i="1">
                        <a:latin typeface="Cambria Math"/>
                      </a:rPr>
                      <m:t>.</m:t>
                    </m:r>
                    <m:sSub>
                      <m:sSubPr>
                        <m:ctrlPr>
                          <a:rPr lang="sv-SE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acc>
                          <m:accPr>
                            <m:chr m:val="̇"/>
                            <m:ctrlPr>
                              <a:rPr lang="sv-SE" sz="1600" i="1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sz="1600" i="1">
                                <a:latin typeface="Cambria Math"/>
                              </a:rPr>
                              <m:t>𝑧</m:t>
                            </m:r>
                          </m:e>
                        </m:acc>
                      </m:e>
                      <m:sub>
                        <m:r>
                          <a:rPr lang="en-US" sz="1600" i="1">
                            <a:latin typeface="Cambria Math"/>
                          </a:rPr>
                          <m:t>𝑝</m:t>
                        </m:r>
                      </m:sub>
                    </m:sSub>
                  </m:oMath>
                </a14:m>
                <a:endParaRPr lang="en-US" sz="1600" dirty="0"/>
              </a:p>
              <a:p>
                <a:r>
                  <a:rPr lang="en-US" dirty="0">
                    <a:solidFill>
                      <a:schemeClr val="accent1"/>
                    </a:solidFill>
                  </a:rPr>
                  <a:t> 	                                              </a:t>
                </a:r>
                <a:r>
                  <a:rPr lang="en-US" sz="1800" dirty="0">
                    <a:solidFill>
                      <a:schemeClr val="accent1"/>
                    </a:solidFill>
                  </a:rPr>
                  <a:t>Implementation:</a:t>
                </a:r>
                <a:endParaRPr lang="en-US" sz="1800" dirty="0">
                  <a:solidFill>
                    <a:srgbClr val="FF0000"/>
                  </a:solidFill>
                </a:endParaRPr>
              </a:p>
              <a:p>
                <a:r>
                  <a:rPr lang="en-US" dirty="0">
                    <a:solidFill>
                      <a:srgbClr val="FF0000"/>
                    </a:solidFill>
                  </a:rPr>
                  <a:t>				</a:t>
                </a:r>
                <a:br>
                  <a:rPr lang="en-US" sz="1400" dirty="0"/>
                </a:br>
                <a:r>
                  <a:rPr lang="en-US" sz="1400" dirty="0"/>
                  <a:t>				</a:t>
                </a:r>
              </a:p>
              <a:p>
                <a:endParaRPr lang="en-US" sz="1400" dirty="0">
                  <a:solidFill>
                    <a:srgbClr val="FF0000"/>
                  </a:solidFill>
                </a:endParaRPr>
              </a:p>
              <a:p>
                <a:endParaRPr lang="en-US" sz="1400" dirty="0">
                  <a:solidFill>
                    <a:srgbClr val="FF0000"/>
                  </a:solidFill>
                </a:endParaRPr>
              </a:p>
              <a:p>
                <a:endParaRPr lang="en-US" dirty="0">
                  <a:solidFill>
                    <a:srgbClr val="FF0000"/>
                  </a:solidFill>
                </a:endParaRPr>
              </a:p>
              <a:p>
                <a:r>
                  <a:rPr lang="en-US" dirty="0">
                    <a:solidFill>
                      <a:srgbClr val="FF0000"/>
                    </a:solidFill>
                  </a:rPr>
                  <a:t>			</a:t>
                </a:r>
              </a:p>
              <a:p>
                <a:r>
                  <a:rPr lang="en-US" dirty="0">
                    <a:solidFill>
                      <a:srgbClr val="FF0000"/>
                    </a:solidFill>
                  </a:rPr>
                  <a:t>	</a:t>
                </a:r>
                <a:endParaRPr lang="sv-SE" sz="1400" dirty="0"/>
              </a:p>
              <a:p>
                <a:endParaRPr lang="en-US" dirty="0">
                  <a:solidFill>
                    <a:srgbClr val="FF0000"/>
                  </a:solidFill>
                </a:endParaRPr>
              </a:p>
              <a:p>
                <a:endParaRPr lang="sv-SE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3"/>
              </p:nvPr>
            </p:nvSpPr>
            <p:spPr>
              <a:xfrm>
                <a:off x="1671299" y="955583"/>
                <a:ext cx="6862738" cy="4822974"/>
              </a:xfrm>
              <a:blipFill>
                <a:blip r:embed="rId2"/>
                <a:stretch>
                  <a:fillRect t="-16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TextBox 6"/>
          <p:cNvSpPr txBox="1"/>
          <p:nvPr/>
        </p:nvSpPr>
        <p:spPr>
          <a:xfrm>
            <a:off x="1311661" y="4330203"/>
            <a:ext cx="353906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GB" dirty="0"/>
              <a:t>Vibration isolation by decoupling the body from track or road irregularities.</a:t>
            </a:r>
          </a:p>
          <a:p>
            <a:endParaRPr lang="sv-SE" dirty="0"/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8273999" y="6224059"/>
            <a:ext cx="531863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9100EA7-DA1B-4E6D-8870-707C2883C942}" type="slidenum">
              <a:rPr lang="sv-SE" sz="700" smtClean="0">
                <a:solidFill>
                  <a:schemeClr val="bg1"/>
                </a:solidFill>
              </a:rPr>
              <a:pPr algn="r"/>
              <a:t>4</a:t>
            </a:fld>
            <a:endParaRPr lang="sv-SE" sz="700" dirty="0">
              <a:solidFill>
                <a:schemeClr val="bg1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1935212" y="1235970"/>
            <a:ext cx="2727798" cy="1799387"/>
            <a:chOff x="1765318" y="1431751"/>
            <a:chExt cx="2727798" cy="1799387"/>
          </a:xfrm>
        </p:grpSpPr>
        <p:cxnSp>
          <p:nvCxnSpPr>
            <p:cNvPr id="14" name="Straight Connector 13"/>
            <p:cNvCxnSpPr/>
            <p:nvPr/>
          </p:nvCxnSpPr>
          <p:spPr>
            <a:xfrm flipH="1">
              <a:off x="2855469" y="2531209"/>
              <a:ext cx="29055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 flipH="1" flipV="1">
              <a:off x="2855470" y="2416909"/>
              <a:ext cx="1" cy="1143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2696594" y="2375632"/>
              <a:ext cx="160949" cy="381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>
              <a:off x="2864928" y="1953357"/>
              <a:ext cx="152400" cy="381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V="1">
              <a:off x="2693583" y="2299432"/>
              <a:ext cx="327919" cy="762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 flipH="1" flipV="1">
              <a:off x="2705141" y="2223232"/>
              <a:ext cx="316586" cy="762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 flipV="1">
              <a:off x="2693581" y="2147032"/>
              <a:ext cx="331320" cy="762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 flipH="1" flipV="1">
              <a:off x="2696592" y="2067657"/>
              <a:ext cx="336530" cy="762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 flipH="1">
              <a:off x="2697754" y="1991457"/>
              <a:ext cx="319574" cy="762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>
            <a:xfrm>
              <a:off x="3271916" y="2296257"/>
              <a:ext cx="2286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>
              <a:off x="3271916" y="2169258"/>
              <a:ext cx="0" cy="127001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>
              <a:off x="3500516" y="2169258"/>
              <a:ext cx="0" cy="127001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>
              <a:off x="3271916" y="2210532"/>
              <a:ext cx="2286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 flipV="1">
              <a:off x="2866609" y="1880332"/>
              <a:ext cx="0" cy="7302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>
            <a:xfrm flipH="1" flipV="1">
              <a:off x="3390168" y="1880334"/>
              <a:ext cx="775" cy="33019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>
            <a:xfrm flipH="1">
              <a:off x="3146019" y="2531209"/>
              <a:ext cx="24285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 flipV="1">
              <a:off x="3392119" y="2299433"/>
              <a:ext cx="0" cy="231779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Rectangle 33"/>
            <p:cNvSpPr/>
            <p:nvPr/>
          </p:nvSpPr>
          <p:spPr>
            <a:xfrm>
              <a:off x="2777066" y="1499334"/>
              <a:ext cx="687350" cy="381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dirty="0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5" name="TextBox 34"/>
                <p:cNvSpPr txBox="1"/>
                <p:nvPr/>
              </p:nvSpPr>
              <p:spPr>
                <a:xfrm>
                  <a:off x="2325468" y="2065684"/>
                  <a:ext cx="383182" cy="29129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12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200" b="0" i="1" smtClean="0">
                                <a:latin typeface="Cambria Math"/>
                              </a:rPr>
                              <m:t>𝑘</m:t>
                            </m:r>
                          </m:e>
                          <m:sub>
                            <m:r>
                              <a:rPr lang="en-US" sz="1200" b="0" i="1" smtClean="0">
                                <a:latin typeface="Cambria Math"/>
                              </a:rPr>
                              <m:t>𝑝</m:t>
                            </m:r>
                          </m:sub>
                        </m:sSub>
                      </m:oMath>
                    </m:oMathPara>
                  </a14:m>
                  <a:endParaRPr lang="sv-SE" sz="1200" dirty="0"/>
                </a:p>
              </p:txBody>
            </p:sp>
          </mc:Choice>
          <mc:Fallback xmlns="">
            <p:sp>
              <p:nvSpPr>
                <p:cNvPr id="35" name="TextBox 34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325468" y="2065684"/>
                  <a:ext cx="383182" cy="291298"/>
                </a:xfrm>
                <a:prstGeom prst="rect">
                  <a:avLst/>
                </a:prstGeom>
                <a:blipFill rotWithShape="1">
                  <a:blip r:embed="rId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sv-S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6" name="TextBox 35"/>
                <p:cNvSpPr txBox="1"/>
                <p:nvPr/>
              </p:nvSpPr>
              <p:spPr>
                <a:xfrm>
                  <a:off x="2893925" y="1544185"/>
                  <a:ext cx="426463" cy="29129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12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200" b="0" i="1" smtClean="0">
                                <a:latin typeface="Cambria Math"/>
                              </a:rPr>
                              <m:t>𝑚</m:t>
                            </m:r>
                          </m:e>
                          <m:sub>
                            <m:r>
                              <a:rPr lang="en-US" sz="1200" b="0" i="1" smtClean="0">
                                <a:latin typeface="Cambria Math"/>
                              </a:rPr>
                              <m:t>𝑝</m:t>
                            </m:r>
                          </m:sub>
                        </m:sSub>
                      </m:oMath>
                    </m:oMathPara>
                  </a14:m>
                  <a:endParaRPr lang="sv-SE" sz="1200" dirty="0"/>
                </a:p>
              </p:txBody>
            </p:sp>
          </mc:Choice>
          <mc:Fallback xmlns="">
            <p:sp>
              <p:nvSpPr>
                <p:cNvPr id="36" name="TextBox 35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893925" y="1544185"/>
                  <a:ext cx="426463" cy="291298"/>
                </a:xfrm>
                <a:prstGeom prst="rect">
                  <a:avLst/>
                </a:prstGeom>
                <a:blipFill rotWithShape="1">
                  <a:blip r:embed="rId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sv-SE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37" name="Straight Connector 36"/>
            <p:cNvCxnSpPr>
              <a:stCxn id="34" idx="1"/>
            </p:cNvCxnSpPr>
            <p:nvPr/>
          </p:nvCxnSpPr>
          <p:spPr>
            <a:xfrm flipH="1">
              <a:off x="2513925" y="1689834"/>
              <a:ext cx="263143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Arrow Connector 37"/>
            <p:cNvCxnSpPr/>
            <p:nvPr/>
          </p:nvCxnSpPr>
          <p:spPr>
            <a:xfrm flipV="1">
              <a:off x="2513923" y="1544185"/>
              <a:ext cx="0" cy="145650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/>
          </p:nvCxnSpPr>
          <p:spPr>
            <a:xfrm flipH="1">
              <a:off x="2697883" y="2779316"/>
              <a:ext cx="263143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Arrow Connector 39"/>
            <p:cNvCxnSpPr/>
            <p:nvPr/>
          </p:nvCxnSpPr>
          <p:spPr>
            <a:xfrm flipV="1">
              <a:off x="2697881" y="2466579"/>
              <a:ext cx="2" cy="312738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1" name="TextBox 40"/>
                <p:cNvSpPr txBox="1"/>
                <p:nvPr/>
              </p:nvSpPr>
              <p:spPr>
                <a:xfrm>
                  <a:off x="2152289" y="1431751"/>
                  <a:ext cx="338682" cy="25808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10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000" b="0" i="1" smtClean="0">
                                <a:latin typeface="Cambria Math"/>
                              </a:rPr>
                              <m:t>𝑧</m:t>
                            </m:r>
                          </m:e>
                          <m:sub>
                            <m:r>
                              <a:rPr lang="en-US" sz="1000" b="0" i="1" smtClean="0">
                                <a:latin typeface="Cambria Math"/>
                              </a:rPr>
                              <m:t>𝑝</m:t>
                            </m:r>
                          </m:sub>
                        </m:sSub>
                      </m:oMath>
                    </m:oMathPara>
                  </a14:m>
                  <a:endParaRPr lang="sv-SE" sz="1000" dirty="0"/>
                </a:p>
              </p:txBody>
            </p:sp>
          </mc:Choice>
          <mc:Fallback xmlns="">
            <p:sp>
              <p:nvSpPr>
                <p:cNvPr id="41" name="TextBox 40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152289" y="1431751"/>
                  <a:ext cx="338682" cy="258084"/>
                </a:xfrm>
                <a:prstGeom prst="rect">
                  <a:avLst/>
                </a:prstGeom>
                <a:blipFill rotWithShape="1">
                  <a:blip r:embed="rId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sv-S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2" name="TextBox 41"/>
                <p:cNvSpPr txBox="1"/>
                <p:nvPr/>
              </p:nvSpPr>
              <p:spPr>
                <a:xfrm>
                  <a:off x="2347494" y="2462371"/>
                  <a:ext cx="367921" cy="24622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10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000" b="0" i="1" smtClean="0">
                                <a:latin typeface="Cambria Math"/>
                              </a:rPr>
                              <m:t>𝑧</m:t>
                            </m:r>
                          </m:e>
                          <m:sub>
                            <m:r>
                              <a:rPr lang="en-US" sz="1000" b="0" i="1" smtClean="0">
                                <a:latin typeface="Cambria Math"/>
                              </a:rPr>
                              <m:t>𝑤</m:t>
                            </m:r>
                          </m:sub>
                        </m:sSub>
                      </m:oMath>
                    </m:oMathPara>
                  </a14:m>
                  <a:endParaRPr lang="sv-SE" sz="1000" dirty="0"/>
                </a:p>
              </p:txBody>
            </p:sp>
          </mc:Choice>
          <mc:Fallback xmlns="">
            <p:sp>
              <p:nvSpPr>
                <p:cNvPr id="42" name="TextBox 41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347494" y="2462371"/>
                  <a:ext cx="367921" cy="246221"/>
                </a:xfrm>
                <a:prstGeom prst="rect">
                  <a:avLst/>
                </a:prstGeom>
                <a:blipFill rotWithShape="1">
                  <a:blip r:embed="rId6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sv-S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3" name="TextBox 42"/>
                <p:cNvSpPr txBox="1"/>
                <p:nvPr/>
              </p:nvSpPr>
              <p:spPr>
                <a:xfrm>
                  <a:off x="3464416" y="2046862"/>
                  <a:ext cx="364972" cy="29129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12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200" b="0" i="1" smtClean="0">
                                <a:latin typeface="Cambria Math"/>
                              </a:rPr>
                              <m:t>𝑐</m:t>
                            </m:r>
                          </m:e>
                          <m:sub>
                            <m:r>
                              <a:rPr lang="en-US" sz="1200" b="0" i="1" smtClean="0">
                                <a:latin typeface="Cambria Math"/>
                              </a:rPr>
                              <m:t>𝑝</m:t>
                            </m:r>
                          </m:sub>
                        </m:sSub>
                      </m:oMath>
                    </m:oMathPara>
                  </a14:m>
                  <a:endParaRPr lang="sv-SE" sz="1200" dirty="0"/>
                </a:p>
              </p:txBody>
            </p:sp>
          </mc:Choice>
          <mc:Fallback xmlns="">
            <p:sp>
              <p:nvSpPr>
                <p:cNvPr id="43" name="TextBox 42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464416" y="2046862"/>
                  <a:ext cx="364972" cy="291298"/>
                </a:xfrm>
                <a:prstGeom prst="rect">
                  <a:avLst/>
                </a:prstGeom>
                <a:blipFill rotWithShape="1">
                  <a:blip r:embed="rId7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sv-S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44" name="Freeform 43"/>
            <p:cNvSpPr/>
            <p:nvPr/>
          </p:nvSpPr>
          <p:spPr>
            <a:xfrm>
              <a:off x="1765318" y="2918503"/>
              <a:ext cx="2537389" cy="312635"/>
            </a:xfrm>
            <a:custGeom>
              <a:avLst/>
              <a:gdLst>
                <a:gd name="connsiteX0" fmla="*/ 0 w 7093010"/>
                <a:gd name="connsiteY0" fmla="*/ 145279 h 521294"/>
                <a:gd name="connsiteX1" fmla="*/ 42729 w 7093010"/>
                <a:gd name="connsiteY1" fmla="*/ 136733 h 521294"/>
                <a:gd name="connsiteX2" fmla="*/ 162371 w 7093010"/>
                <a:gd name="connsiteY2" fmla="*/ 119641 h 521294"/>
                <a:gd name="connsiteX3" fmla="*/ 188008 w 7093010"/>
                <a:gd name="connsiteY3" fmla="*/ 102550 h 521294"/>
                <a:gd name="connsiteX4" fmla="*/ 213645 w 7093010"/>
                <a:gd name="connsiteY4" fmla="*/ 94004 h 521294"/>
                <a:gd name="connsiteX5" fmla="*/ 299103 w 7093010"/>
                <a:gd name="connsiteY5" fmla="*/ 119641 h 521294"/>
                <a:gd name="connsiteX6" fmla="*/ 316195 w 7093010"/>
                <a:gd name="connsiteY6" fmla="*/ 145279 h 521294"/>
                <a:gd name="connsiteX7" fmla="*/ 358924 w 7093010"/>
                <a:gd name="connsiteY7" fmla="*/ 136733 h 521294"/>
                <a:gd name="connsiteX8" fmla="*/ 384561 w 7093010"/>
                <a:gd name="connsiteY8" fmla="*/ 119641 h 521294"/>
                <a:gd name="connsiteX9" fmla="*/ 418744 w 7093010"/>
                <a:gd name="connsiteY9" fmla="*/ 102550 h 521294"/>
                <a:gd name="connsiteX10" fmla="*/ 461473 w 7093010"/>
                <a:gd name="connsiteY10" fmla="*/ 76912 h 521294"/>
                <a:gd name="connsiteX11" fmla="*/ 504202 w 7093010"/>
                <a:gd name="connsiteY11" fmla="*/ 68367 h 521294"/>
                <a:gd name="connsiteX12" fmla="*/ 529840 w 7093010"/>
                <a:gd name="connsiteY12" fmla="*/ 51275 h 521294"/>
                <a:gd name="connsiteX13" fmla="*/ 572569 w 7093010"/>
                <a:gd name="connsiteY13" fmla="*/ 102550 h 521294"/>
                <a:gd name="connsiteX14" fmla="*/ 623843 w 7093010"/>
                <a:gd name="connsiteY14" fmla="*/ 153824 h 521294"/>
                <a:gd name="connsiteX15" fmla="*/ 649481 w 7093010"/>
                <a:gd name="connsiteY15" fmla="*/ 222191 h 521294"/>
                <a:gd name="connsiteX16" fmla="*/ 675118 w 7093010"/>
                <a:gd name="connsiteY16" fmla="*/ 205099 h 521294"/>
                <a:gd name="connsiteX17" fmla="*/ 717847 w 7093010"/>
                <a:gd name="connsiteY17" fmla="*/ 162370 h 521294"/>
                <a:gd name="connsiteX18" fmla="*/ 743485 w 7093010"/>
                <a:gd name="connsiteY18" fmla="*/ 145279 h 521294"/>
                <a:gd name="connsiteX19" fmla="*/ 769122 w 7093010"/>
                <a:gd name="connsiteY19" fmla="*/ 119641 h 521294"/>
                <a:gd name="connsiteX20" fmla="*/ 803305 w 7093010"/>
                <a:gd name="connsiteY20" fmla="*/ 102550 h 521294"/>
                <a:gd name="connsiteX21" fmla="*/ 837488 w 7093010"/>
                <a:gd name="connsiteY21" fmla="*/ 162370 h 521294"/>
                <a:gd name="connsiteX22" fmla="*/ 863126 w 7093010"/>
                <a:gd name="connsiteY22" fmla="*/ 145279 h 521294"/>
                <a:gd name="connsiteX23" fmla="*/ 940038 w 7093010"/>
                <a:gd name="connsiteY23" fmla="*/ 59821 h 521294"/>
                <a:gd name="connsiteX24" fmla="*/ 999858 w 7093010"/>
                <a:gd name="connsiteY24" fmla="*/ 51275 h 521294"/>
                <a:gd name="connsiteX25" fmla="*/ 1059679 w 7093010"/>
                <a:gd name="connsiteY25" fmla="*/ 119641 h 521294"/>
                <a:gd name="connsiteX26" fmla="*/ 1110954 w 7093010"/>
                <a:gd name="connsiteY26" fmla="*/ 188008 h 521294"/>
                <a:gd name="connsiteX27" fmla="*/ 1239141 w 7093010"/>
                <a:gd name="connsiteY27" fmla="*/ 111096 h 521294"/>
                <a:gd name="connsiteX28" fmla="*/ 1273324 w 7093010"/>
                <a:gd name="connsiteY28" fmla="*/ 85458 h 521294"/>
                <a:gd name="connsiteX29" fmla="*/ 1324599 w 7093010"/>
                <a:gd name="connsiteY29" fmla="*/ 102550 h 521294"/>
                <a:gd name="connsiteX30" fmla="*/ 1350236 w 7093010"/>
                <a:gd name="connsiteY30" fmla="*/ 145279 h 521294"/>
                <a:gd name="connsiteX31" fmla="*/ 1367328 w 7093010"/>
                <a:gd name="connsiteY31" fmla="*/ 170916 h 521294"/>
                <a:gd name="connsiteX32" fmla="*/ 1392965 w 7093010"/>
                <a:gd name="connsiteY32" fmla="*/ 179462 h 521294"/>
                <a:gd name="connsiteX33" fmla="*/ 1418602 w 7093010"/>
                <a:gd name="connsiteY33" fmla="*/ 170916 h 521294"/>
                <a:gd name="connsiteX34" fmla="*/ 1469877 w 7093010"/>
                <a:gd name="connsiteY34" fmla="*/ 119641 h 521294"/>
                <a:gd name="connsiteX35" fmla="*/ 1478423 w 7093010"/>
                <a:gd name="connsiteY35" fmla="*/ 94004 h 521294"/>
                <a:gd name="connsiteX36" fmla="*/ 1504060 w 7093010"/>
                <a:gd name="connsiteY36" fmla="*/ 85458 h 521294"/>
                <a:gd name="connsiteX37" fmla="*/ 1555335 w 7093010"/>
                <a:gd name="connsiteY37" fmla="*/ 76912 h 521294"/>
                <a:gd name="connsiteX38" fmla="*/ 1589518 w 7093010"/>
                <a:gd name="connsiteY38" fmla="*/ 128187 h 521294"/>
                <a:gd name="connsiteX39" fmla="*/ 1632247 w 7093010"/>
                <a:gd name="connsiteY39" fmla="*/ 205099 h 521294"/>
                <a:gd name="connsiteX40" fmla="*/ 1657885 w 7093010"/>
                <a:gd name="connsiteY40" fmla="*/ 213645 h 521294"/>
                <a:gd name="connsiteX41" fmla="*/ 1666430 w 7093010"/>
                <a:gd name="connsiteY41" fmla="*/ 188008 h 521294"/>
                <a:gd name="connsiteX42" fmla="*/ 1743342 w 7093010"/>
                <a:gd name="connsiteY42" fmla="*/ 153824 h 521294"/>
                <a:gd name="connsiteX43" fmla="*/ 1794617 w 7093010"/>
                <a:gd name="connsiteY43" fmla="*/ 196553 h 521294"/>
                <a:gd name="connsiteX44" fmla="*/ 1828800 w 7093010"/>
                <a:gd name="connsiteY44" fmla="*/ 170916 h 521294"/>
                <a:gd name="connsiteX45" fmla="*/ 1922804 w 7093010"/>
                <a:gd name="connsiteY45" fmla="*/ 128187 h 521294"/>
                <a:gd name="connsiteX46" fmla="*/ 1948442 w 7093010"/>
                <a:gd name="connsiteY46" fmla="*/ 136733 h 521294"/>
                <a:gd name="connsiteX47" fmla="*/ 1974079 w 7093010"/>
                <a:gd name="connsiteY47" fmla="*/ 162370 h 521294"/>
                <a:gd name="connsiteX48" fmla="*/ 2008262 w 7093010"/>
                <a:gd name="connsiteY48" fmla="*/ 230737 h 521294"/>
                <a:gd name="connsiteX49" fmla="*/ 2059537 w 7093010"/>
                <a:gd name="connsiteY49" fmla="*/ 205099 h 521294"/>
                <a:gd name="connsiteX50" fmla="*/ 2110812 w 7093010"/>
                <a:gd name="connsiteY50" fmla="*/ 145279 h 521294"/>
                <a:gd name="connsiteX51" fmla="*/ 2196270 w 7093010"/>
                <a:gd name="connsiteY51" fmla="*/ 17092 h 521294"/>
                <a:gd name="connsiteX52" fmla="*/ 2221907 w 7093010"/>
                <a:gd name="connsiteY52" fmla="*/ 0 h 521294"/>
                <a:gd name="connsiteX53" fmla="*/ 2256090 w 7093010"/>
                <a:gd name="connsiteY53" fmla="*/ 111096 h 521294"/>
                <a:gd name="connsiteX54" fmla="*/ 2307365 w 7093010"/>
                <a:gd name="connsiteY54" fmla="*/ 102550 h 521294"/>
                <a:gd name="connsiteX55" fmla="*/ 2315911 w 7093010"/>
                <a:gd name="connsiteY55" fmla="*/ 128187 h 521294"/>
                <a:gd name="connsiteX56" fmla="*/ 2358640 w 7093010"/>
                <a:gd name="connsiteY56" fmla="*/ 102550 h 521294"/>
                <a:gd name="connsiteX57" fmla="*/ 2384277 w 7093010"/>
                <a:gd name="connsiteY57" fmla="*/ 94004 h 521294"/>
                <a:gd name="connsiteX58" fmla="*/ 2392823 w 7093010"/>
                <a:gd name="connsiteY58" fmla="*/ 136733 h 521294"/>
                <a:gd name="connsiteX59" fmla="*/ 2435552 w 7093010"/>
                <a:gd name="connsiteY59" fmla="*/ 170916 h 521294"/>
                <a:gd name="connsiteX60" fmla="*/ 2444098 w 7093010"/>
                <a:gd name="connsiteY60" fmla="*/ 205099 h 521294"/>
                <a:gd name="connsiteX61" fmla="*/ 2461189 w 7093010"/>
                <a:gd name="connsiteY61" fmla="*/ 230737 h 521294"/>
                <a:gd name="connsiteX62" fmla="*/ 2503918 w 7093010"/>
                <a:gd name="connsiteY62" fmla="*/ 179462 h 521294"/>
                <a:gd name="connsiteX63" fmla="*/ 2538101 w 7093010"/>
                <a:gd name="connsiteY63" fmla="*/ 119641 h 521294"/>
                <a:gd name="connsiteX64" fmla="*/ 2546647 w 7093010"/>
                <a:gd name="connsiteY64" fmla="*/ 145279 h 521294"/>
                <a:gd name="connsiteX65" fmla="*/ 2572285 w 7093010"/>
                <a:gd name="connsiteY65" fmla="*/ 188008 h 521294"/>
                <a:gd name="connsiteX66" fmla="*/ 2597922 w 7093010"/>
                <a:gd name="connsiteY66" fmla="*/ 179462 h 521294"/>
                <a:gd name="connsiteX67" fmla="*/ 2632105 w 7093010"/>
                <a:gd name="connsiteY67" fmla="*/ 153824 h 521294"/>
                <a:gd name="connsiteX68" fmla="*/ 2657742 w 7093010"/>
                <a:gd name="connsiteY68" fmla="*/ 196553 h 521294"/>
                <a:gd name="connsiteX69" fmla="*/ 2683380 w 7093010"/>
                <a:gd name="connsiteY69" fmla="*/ 205099 h 521294"/>
                <a:gd name="connsiteX70" fmla="*/ 2785929 w 7093010"/>
                <a:gd name="connsiteY70" fmla="*/ 102550 h 521294"/>
                <a:gd name="connsiteX71" fmla="*/ 2871387 w 7093010"/>
                <a:gd name="connsiteY71" fmla="*/ 51275 h 521294"/>
                <a:gd name="connsiteX72" fmla="*/ 2931208 w 7093010"/>
                <a:gd name="connsiteY72" fmla="*/ 25638 h 521294"/>
                <a:gd name="connsiteX73" fmla="*/ 2965391 w 7093010"/>
                <a:gd name="connsiteY73" fmla="*/ 8546 h 521294"/>
                <a:gd name="connsiteX74" fmla="*/ 2991028 w 7093010"/>
                <a:gd name="connsiteY74" fmla="*/ 17092 h 521294"/>
                <a:gd name="connsiteX75" fmla="*/ 2999574 w 7093010"/>
                <a:gd name="connsiteY75" fmla="*/ 59821 h 521294"/>
                <a:gd name="connsiteX76" fmla="*/ 3008120 w 7093010"/>
                <a:gd name="connsiteY76" fmla="*/ 85458 h 521294"/>
                <a:gd name="connsiteX77" fmla="*/ 3033757 w 7093010"/>
                <a:gd name="connsiteY77" fmla="*/ 94004 h 521294"/>
                <a:gd name="connsiteX78" fmla="*/ 3067941 w 7093010"/>
                <a:gd name="connsiteY78" fmla="*/ 128187 h 521294"/>
                <a:gd name="connsiteX79" fmla="*/ 3085032 w 7093010"/>
                <a:gd name="connsiteY79" fmla="*/ 153824 h 521294"/>
                <a:gd name="connsiteX80" fmla="*/ 3119215 w 7093010"/>
                <a:gd name="connsiteY80" fmla="*/ 188008 h 521294"/>
                <a:gd name="connsiteX81" fmla="*/ 3161944 w 7093010"/>
                <a:gd name="connsiteY81" fmla="*/ 196553 h 521294"/>
                <a:gd name="connsiteX82" fmla="*/ 3221765 w 7093010"/>
                <a:gd name="connsiteY82" fmla="*/ 119641 h 521294"/>
                <a:gd name="connsiteX83" fmla="*/ 3247402 w 7093010"/>
                <a:gd name="connsiteY83" fmla="*/ 76912 h 521294"/>
                <a:gd name="connsiteX84" fmla="*/ 3273040 w 7093010"/>
                <a:gd name="connsiteY84" fmla="*/ 68367 h 521294"/>
                <a:gd name="connsiteX85" fmla="*/ 3307223 w 7093010"/>
                <a:gd name="connsiteY85" fmla="*/ 128187 h 521294"/>
                <a:gd name="connsiteX86" fmla="*/ 3341406 w 7093010"/>
                <a:gd name="connsiteY86" fmla="*/ 170916 h 521294"/>
                <a:gd name="connsiteX87" fmla="*/ 3367043 w 7093010"/>
                <a:gd name="connsiteY87" fmla="*/ 162370 h 521294"/>
                <a:gd name="connsiteX88" fmla="*/ 3401227 w 7093010"/>
                <a:gd name="connsiteY88" fmla="*/ 119641 h 521294"/>
                <a:gd name="connsiteX89" fmla="*/ 3418318 w 7093010"/>
                <a:gd name="connsiteY89" fmla="*/ 153824 h 521294"/>
                <a:gd name="connsiteX90" fmla="*/ 3452501 w 7093010"/>
                <a:gd name="connsiteY90" fmla="*/ 213645 h 521294"/>
                <a:gd name="connsiteX91" fmla="*/ 3461047 w 7093010"/>
                <a:gd name="connsiteY91" fmla="*/ 264920 h 521294"/>
                <a:gd name="connsiteX92" fmla="*/ 3486685 w 7093010"/>
                <a:gd name="connsiteY92" fmla="*/ 282011 h 521294"/>
                <a:gd name="connsiteX93" fmla="*/ 3597780 w 7093010"/>
                <a:gd name="connsiteY93" fmla="*/ 119641 h 521294"/>
                <a:gd name="connsiteX94" fmla="*/ 3717421 w 7093010"/>
                <a:gd name="connsiteY94" fmla="*/ 25638 h 521294"/>
                <a:gd name="connsiteX95" fmla="*/ 3734513 w 7093010"/>
                <a:gd name="connsiteY95" fmla="*/ 59821 h 521294"/>
                <a:gd name="connsiteX96" fmla="*/ 3743058 w 7093010"/>
                <a:gd name="connsiteY96" fmla="*/ 102550 h 521294"/>
                <a:gd name="connsiteX97" fmla="*/ 3768696 w 7093010"/>
                <a:gd name="connsiteY97" fmla="*/ 94004 h 521294"/>
                <a:gd name="connsiteX98" fmla="*/ 3794333 w 7093010"/>
                <a:gd name="connsiteY98" fmla="*/ 68367 h 521294"/>
                <a:gd name="connsiteX99" fmla="*/ 3811425 w 7093010"/>
                <a:gd name="connsiteY99" fmla="*/ 136733 h 521294"/>
                <a:gd name="connsiteX100" fmla="*/ 3837062 w 7093010"/>
                <a:gd name="connsiteY100" fmla="*/ 264920 h 521294"/>
                <a:gd name="connsiteX101" fmla="*/ 3862700 w 7093010"/>
                <a:gd name="connsiteY101" fmla="*/ 273466 h 521294"/>
                <a:gd name="connsiteX102" fmla="*/ 3931066 w 7093010"/>
                <a:gd name="connsiteY102" fmla="*/ 205099 h 521294"/>
                <a:gd name="connsiteX103" fmla="*/ 3982341 w 7093010"/>
                <a:gd name="connsiteY103" fmla="*/ 145279 h 521294"/>
                <a:gd name="connsiteX104" fmla="*/ 4093436 w 7093010"/>
                <a:gd name="connsiteY104" fmla="*/ 8546 h 521294"/>
                <a:gd name="connsiteX105" fmla="*/ 4119073 w 7093010"/>
                <a:gd name="connsiteY105" fmla="*/ 76912 h 521294"/>
                <a:gd name="connsiteX106" fmla="*/ 4144711 w 7093010"/>
                <a:gd name="connsiteY106" fmla="*/ 170916 h 521294"/>
                <a:gd name="connsiteX107" fmla="*/ 4178894 w 7093010"/>
                <a:gd name="connsiteY107" fmla="*/ 179462 h 521294"/>
                <a:gd name="connsiteX108" fmla="*/ 4204531 w 7093010"/>
                <a:gd name="connsiteY108" fmla="*/ 162370 h 521294"/>
                <a:gd name="connsiteX109" fmla="*/ 4230169 w 7093010"/>
                <a:gd name="connsiteY109" fmla="*/ 128187 h 521294"/>
                <a:gd name="connsiteX110" fmla="*/ 4255806 w 7093010"/>
                <a:gd name="connsiteY110" fmla="*/ 136733 h 521294"/>
                <a:gd name="connsiteX111" fmla="*/ 4281443 w 7093010"/>
                <a:gd name="connsiteY111" fmla="*/ 239282 h 521294"/>
                <a:gd name="connsiteX112" fmla="*/ 4307081 w 7093010"/>
                <a:gd name="connsiteY112" fmla="*/ 213645 h 521294"/>
                <a:gd name="connsiteX113" fmla="*/ 4349810 w 7093010"/>
                <a:gd name="connsiteY113" fmla="*/ 153824 h 521294"/>
                <a:gd name="connsiteX114" fmla="*/ 4366901 w 7093010"/>
                <a:gd name="connsiteY114" fmla="*/ 179462 h 521294"/>
                <a:gd name="connsiteX115" fmla="*/ 4392539 w 7093010"/>
                <a:gd name="connsiteY115" fmla="*/ 247828 h 521294"/>
                <a:gd name="connsiteX116" fmla="*/ 4426722 w 7093010"/>
                <a:gd name="connsiteY116" fmla="*/ 239282 h 521294"/>
                <a:gd name="connsiteX117" fmla="*/ 4495088 w 7093010"/>
                <a:gd name="connsiteY117" fmla="*/ 136733 h 521294"/>
                <a:gd name="connsiteX118" fmla="*/ 4520726 w 7093010"/>
                <a:gd name="connsiteY118" fmla="*/ 179462 h 521294"/>
                <a:gd name="connsiteX119" fmla="*/ 4580546 w 7093010"/>
                <a:gd name="connsiteY119" fmla="*/ 299103 h 521294"/>
                <a:gd name="connsiteX120" fmla="*/ 4606184 w 7093010"/>
                <a:gd name="connsiteY120" fmla="*/ 316195 h 521294"/>
                <a:gd name="connsiteX121" fmla="*/ 4640367 w 7093010"/>
                <a:gd name="connsiteY121" fmla="*/ 290557 h 521294"/>
                <a:gd name="connsiteX122" fmla="*/ 4708733 w 7093010"/>
                <a:gd name="connsiteY122" fmla="*/ 196553 h 521294"/>
                <a:gd name="connsiteX123" fmla="*/ 4751462 w 7093010"/>
                <a:gd name="connsiteY123" fmla="*/ 205099 h 521294"/>
                <a:gd name="connsiteX124" fmla="*/ 4777100 w 7093010"/>
                <a:gd name="connsiteY124" fmla="*/ 222191 h 521294"/>
                <a:gd name="connsiteX125" fmla="*/ 4862557 w 7093010"/>
                <a:gd name="connsiteY125" fmla="*/ 119641 h 521294"/>
                <a:gd name="connsiteX126" fmla="*/ 4871103 w 7093010"/>
                <a:gd name="connsiteY126" fmla="*/ 153824 h 521294"/>
                <a:gd name="connsiteX127" fmla="*/ 4888195 w 7093010"/>
                <a:gd name="connsiteY127" fmla="*/ 247828 h 521294"/>
                <a:gd name="connsiteX128" fmla="*/ 4913832 w 7093010"/>
                <a:gd name="connsiteY128" fmla="*/ 282011 h 521294"/>
                <a:gd name="connsiteX129" fmla="*/ 4965107 w 7093010"/>
                <a:gd name="connsiteY129" fmla="*/ 350378 h 521294"/>
                <a:gd name="connsiteX130" fmla="*/ 5076202 w 7093010"/>
                <a:gd name="connsiteY130" fmla="*/ 264920 h 521294"/>
                <a:gd name="connsiteX131" fmla="*/ 5101840 w 7093010"/>
                <a:gd name="connsiteY131" fmla="*/ 179462 h 521294"/>
                <a:gd name="connsiteX132" fmla="*/ 5118931 w 7093010"/>
                <a:gd name="connsiteY132" fmla="*/ 153824 h 521294"/>
                <a:gd name="connsiteX133" fmla="*/ 5136023 w 7093010"/>
                <a:gd name="connsiteY133" fmla="*/ 188008 h 521294"/>
                <a:gd name="connsiteX134" fmla="*/ 5204389 w 7093010"/>
                <a:gd name="connsiteY134" fmla="*/ 136733 h 521294"/>
                <a:gd name="connsiteX135" fmla="*/ 5238572 w 7093010"/>
                <a:gd name="connsiteY135" fmla="*/ 213645 h 521294"/>
                <a:gd name="connsiteX136" fmla="*/ 5272756 w 7093010"/>
                <a:gd name="connsiteY136" fmla="*/ 264920 h 521294"/>
                <a:gd name="connsiteX137" fmla="*/ 5306939 w 7093010"/>
                <a:gd name="connsiteY137" fmla="*/ 230737 h 521294"/>
                <a:gd name="connsiteX138" fmla="*/ 5315485 w 7093010"/>
                <a:gd name="connsiteY138" fmla="*/ 205099 h 521294"/>
                <a:gd name="connsiteX139" fmla="*/ 5324030 w 7093010"/>
                <a:gd name="connsiteY139" fmla="*/ 230737 h 521294"/>
                <a:gd name="connsiteX140" fmla="*/ 5332576 w 7093010"/>
                <a:gd name="connsiteY140" fmla="*/ 273466 h 521294"/>
                <a:gd name="connsiteX141" fmla="*/ 5383851 w 7093010"/>
                <a:gd name="connsiteY141" fmla="*/ 196553 h 521294"/>
                <a:gd name="connsiteX142" fmla="*/ 5452217 w 7093010"/>
                <a:gd name="connsiteY142" fmla="*/ 153824 h 521294"/>
                <a:gd name="connsiteX143" fmla="*/ 5520584 w 7093010"/>
                <a:gd name="connsiteY143" fmla="*/ 145279 h 521294"/>
                <a:gd name="connsiteX144" fmla="*/ 5537675 w 7093010"/>
                <a:gd name="connsiteY144" fmla="*/ 222191 h 521294"/>
                <a:gd name="connsiteX145" fmla="*/ 5546221 w 7093010"/>
                <a:gd name="connsiteY145" fmla="*/ 324740 h 521294"/>
                <a:gd name="connsiteX146" fmla="*/ 5580404 w 7093010"/>
                <a:gd name="connsiteY146" fmla="*/ 264920 h 521294"/>
                <a:gd name="connsiteX147" fmla="*/ 5640225 w 7093010"/>
                <a:gd name="connsiteY147" fmla="*/ 153824 h 521294"/>
                <a:gd name="connsiteX148" fmla="*/ 5674408 w 7093010"/>
                <a:gd name="connsiteY148" fmla="*/ 128187 h 521294"/>
                <a:gd name="connsiteX149" fmla="*/ 5700045 w 7093010"/>
                <a:gd name="connsiteY149" fmla="*/ 111096 h 521294"/>
                <a:gd name="connsiteX150" fmla="*/ 5725683 w 7093010"/>
                <a:gd name="connsiteY150" fmla="*/ 102550 h 521294"/>
                <a:gd name="connsiteX151" fmla="*/ 5759866 w 7093010"/>
                <a:gd name="connsiteY151" fmla="*/ 222191 h 521294"/>
                <a:gd name="connsiteX152" fmla="*/ 5776957 w 7093010"/>
                <a:gd name="connsiteY152" fmla="*/ 273466 h 521294"/>
                <a:gd name="connsiteX153" fmla="*/ 5802595 w 7093010"/>
                <a:gd name="connsiteY153" fmla="*/ 350378 h 521294"/>
                <a:gd name="connsiteX154" fmla="*/ 5862415 w 7093010"/>
                <a:gd name="connsiteY154" fmla="*/ 239282 h 521294"/>
                <a:gd name="connsiteX155" fmla="*/ 5905144 w 7093010"/>
                <a:gd name="connsiteY155" fmla="*/ 179462 h 521294"/>
                <a:gd name="connsiteX156" fmla="*/ 5930782 w 7093010"/>
                <a:gd name="connsiteY156" fmla="*/ 136733 h 521294"/>
                <a:gd name="connsiteX157" fmla="*/ 5956419 w 7093010"/>
                <a:gd name="connsiteY157" fmla="*/ 170916 h 521294"/>
                <a:gd name="connsiteX158" fmla="*/ 5973511 w 7093010"/>
                <a:gd name="connsiteY158" fmla="*/ 222191 h 521294"/>
                <a:gd name="connsiteX159" fmla="*/ 5999148 w 7093010"/>
                <a:gd name="connsiteY159" fmla="*/ 282011 h 521294"/>
                <a:gd name="connsiteX160" fmla="*/ 6033331 w 7093010"/>
                <a:gd name="connsiteY160" fmla="*/ 273466 h 521294"/>
                <a:gd name="connsiteX161" fmla="*/ 6084606 w 7093010"/>
                <a:gd name="connsiteY161" fmla="*/ 213645 h 521294"/>
                <a:gd name="connsiteX162" fmla="*/ 6118789 w 7093010"/>
                <a:gd name="connsiteY162" fmla="*/ 188008 h 521294"/>
                <a:gd name="connsiteX163" fmla="*/ 6135881 w 7093010"/>
                <a:gd name="connsiteY163" fmla="*/ 145279 h 521294"/>
                <a:gd name="connsiteX164" fmla="*/ 6170064 w 7093010"/>
                <a:gd name="connsiteY164" fmla="*/ 136733 h 521294"/>
                <a:gd name="connsiteX165" fmla="*/ 6195701 w 7093010"/>
                <a:gd name="connsiteY165" fmla="*/ 119641 h 521294"/>
                <a:gd name="connsiteX166" fmla="*/ 6221339 w 7093010"/>
                <a:gd name="connsiteY166" fmla="*/ 162370 h 521294"/>
                <a:gd name="connsiteX167" fmla="*/ 6255522 w 7093010"/>
                <a:gd name="connsiteY167" fmla="*/ 358924 h 521294"/>
                <a:gd name="connsiteX168" fmla="*/ 6281159 w 7093010"/>
                <a:gd name="connsiteY168" fmla="*/ 495656 h 521294"/>
                <a:gd name="connsiteX169" fmla="*/ 6306797 w 7093010"/>
                <a:gd name="connsiteY169" fmla="*/ 521294 h 521294"/>
                <a:gd name="connsiteX170" fmla="*/ 6349526 w 7093010"/>
                <a:gd name="connsiteY170" fmla="*/ 461473 h 521294"/>
                <a:gd name="connsiteX171" fmla="*/ 6366617 w 7093010"/>
                <a:gd name="connsiteY171" fmla="*/ 410198 h 521294"/>
                <a:gd name="connsiteX172" fmla="*/ 6426438 w 7093010"/>
                <a:gd name="connsiteY172" fmla="*/ 290557 h 521294"/>
                <a:gd name="connsiteX173" fmla="*/ 6434984 w 7093010"/>
                <a:gd name="connsiteY173" fmla="*/ 256374 h 521294"/>
                <a:gd name="connsiteX174" fmla="*/ 6452075 w 7093010"/>
                <a:gd name="connsiteY174" fmla="*/ 230737 h 521294"/>
                <a:gd name="connsiteX175" fmla="*/ 6469167 w 7093010"/>
                <a:gd name="connsiteY175" fmla="*/ 196553 h 521294"/>
                <a:gd name="connsiteX176" fmla="*/ 6511896 w 7093010"/>
                <a:gd name="connsiteY176" fmla="*/ 350378 h 521294"/>
                <a:gd name="connsiteX177" fmla="*/ 6528987 w 7093010"/>
                <a:gd name="connsiteY177" fmla="*/ 324740 h 521294"/>
                <a:gd name="connsiteX178" fmla="*/ 6588808 w 7093010"/>
                <a:gd name="connsiteY178" fmla="*/ 247828 h 521294"/>
                <a:gd name="connsiteX179" fmla="*/ 6631537 w 7093010"/>
                <a:gd name="connsiteY179" fmla="*/ 196553 h 521294"/>
                <a:gd name="connsiteX180" fmla="*/ 6674266 w 7093010"/>
                <a:gd name="connsiteY180" fmla="*/ 247828 h 521294"/>
                <a:gd name="connsiteX181" fmla="*/ 6708449 w 7093010"/>
                <a:gd name="connsiteY181" fmla="*/ 239282 h 521294"/>
                <a:gd name="connsiteX182" fmla="*/ 6734086 w 7093010"/>
                <a:gd name="connsiteY182" fmla="*/ 179462 h 521294"/>
                <a:gd name="connsiteX183" fmla="*/ 6742632 w 7093010"/>
                <a:gd name="connsiteY183" fmla="*/ 153824 h 521294"/>
                <a:gd name="connsiteX184" fmla="*/ 6768270 w 7093010"/>
                <a:gd name="connsiteY184" fmla="*/ 136733 h 521294"/>
                <a:gd name="connsiteX185" fmla="*/ 6810999 w 7093010"/>
                <a:gd name="connsiteY185" fmla="*/ 111096 h 521294"/>
                <a:gd name="connsiteX186" fmla="*/ 6836636 w 7093010"/>
                <a:gd name="connsiteY186" fmla="*/ 94004 h 521294"/>
                <a:gd name="connsiteX187" fmla="*/ 6862273 w 7093010"/>
                <a:gd name="connsiteY187" fmla="*/ 102550 h 521294"/>
                <a:gd name="connsiteX188" fmla="*/ 6887911 w 7093010"/>
                <a:gd name="connsiteY188" fmla="*/ 119641 h 521294"/>
                <a:gd name="connsiteX189" fmla="*/ 6939185 w 7093010"/>
                <a:gd name="connsiteY189" fmla="*/ 59821 h 521294"/>
                <a:gd name="connsiteX190" fmla="*/ 6999006 w 7093010"/>
                <a:gd name="connsiteY190" fmla="*/ 162370 h 521294"/>
                <a:gd name="connsiteX191" fmla="*/ 7007552 w 7093010"/>
                <a:gd name="connsiteY191" fmla="*/ 205099 h 521294"/>
                <a:gd name="connsiteX192" fmla="*/ 7033189 w 7093010"/>
                <a:gd name="connsiteY192" fmla="*/ 213645 h 521294"/>
                <a:gd name="connsiteX193" fmla="*/ 7067372 w 7093010"/>
                <a:gd name="connsiteY193" fmla="*/ 162370 h 521294"/>
                <a:gd name="connsiteX194" fmla="*/ 7093010 w 7093010"/>
                <a:gd name="connsiteY194" fmla="*/ 128187 h 521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</a:cxnLst>
              <a:rect l="l" t="t" r="r" b="b"/>
              <a:pathLst>
                <a:path w="7093010" h="521294">
                  <a:moveTo>
                    <a:pt x="0" y="145279"/>
                  </a:moveTo>
                  <a:cubicBezTo>
                    <a:pt x="14243" y="142430"/>
                    <a:pt x="28382" y="138998"/>
                    <a:pt x="42729" y="136733"/>
                  </a:cubicBezTo>
                  <a:cubicBezTo>
                    <a:pt x="82522" y="130450"/>
                    <a:pt x="123156" y="128868"/>
                    <a:pt x="162371" y="119641"/>
                  </a:cubicBezTo>
                  <a:cubicBezTo>
                    <a:pt x="172369" y="117289"/>
                    <a:pt x="178822" y="107143"/>
                    <a:pt x="188008" y="102550"/>
                  </a:cubicBezTo>
                  <a:cubicBezTo>
                    <a:pt x="196065" y="98522"/>
                    <a:pt x="205099" y="96853"/>
                    <a:pt x="213645" y="94004"/>
                  </a:cubicBezTo>
                  <a:cubicBezTo>
                    <a:pt x="243697" y="99013"/>
                    <a:pt x="274263" y="98941"/>
                    <a:pt x="299103" y="119641"/>
                  </a:cubicBezTo>
                  <a:cubicBezTo>
                    <a:pt x="306993" y="126216"/>
                    <a:pt x="310498" y="136733"/>
                    <a:pt x="316195" y="145279"/>
                  </a:cubicBezTo>
                  <a:cubicBezTo>
                    <a:pt x="330438" y="142430"/>
                    <a:pt x="345324" y="141833"/>
                    <a:pt x="358924" y="136733"/>
                  </a:cubicBezTo>
                  <a:cubicBezTo>
                    <a:pt x="368541" y="133127"/>
                    <a:pt x="375644" y="124737"/>
                    <a:pt x="384561" y="119641"/>
                  </a:cubicBezTo>
                  <a:cubicBezTo>
                    <a:pt x="395622" y="113321"/>
                    <a:pt x="407608" y="108737"/>
                    <a:pt x="418744" y="102550"/>
                  </a:cubicBezTo>
                  <a:cubicBezTo>
                    <a:pt x="433264" y="94483"/>
                    <a:pt x="446051" y="83081"/>
                    <a:pt x="461473" y="76912"/>
                  </a:cubicBezTo>
                  <a:cubicBezTo>
                    <a:pt x="474959" y="71518"/>
                    <a:pt x="489959" y="71215"/>
                    <a:pt x="504202" y="68367"/>
                  </a:cubicBezTo>
                  <a:cubicBezTo>
                    <a:pt x="512748" y="62670"/>
                    <a:pt x="519672" y="49823"/>
                    <a:pt x="529840" y="51275"/>
                  </a:cubicBezTo>
                  <a:cubicBezTo>
                    <a:pt x="580191" y="58467"/>
                    <a:pt x="553851" y="78484"/>
                    <a:pt x="572569" y="102550"/>
                  </a:cubicBezTo>
                  <a:cubicBezTo>
                    <a:pt x="587408" y="121629"/>
                    <a:pt x="623843" y="153824"/>
                    <a:pt x="623843" y="153824"/>
                  </a:cubicBezTo>
                  <a:cubicBezTo>
                    <a:pt x="627739" y="165512"/>
                    <a:pt x="645223" y="219636"/>
                    <a:pt x="649481" y="222191"/>
                  </a:cubicBezTo>
                  <a:cubicBezTo>
                    <a:pt x="658288" y="227475"/>
                    <a:pt x="667389" y="211862"/>
                    <a:pt x="675118" y="205099"/>
                  </a:cubicBezTo>
                  <a:cubicBezTo>
                    <a:pt x="690277" y="191835"/>
                    <a:pt x="702688" y="175634"/>
                    <a:pt x="717847" y="162370"/>
                  </a:cubicBezTo>
                  <a:cubicBezTo>
                    <a:pt x="725577" y="155607"/>
                    <a:pt x="735595" y="151854"/>
                    <a:pt x="743485" y="145279"/>
                  </a:cubicBezTo>
                  <a:cubicBezTo>
                    <a:pt x="752769" y="137542"/>
                    <a:pt x="759288" y="126666"/>
                    <a:pt x="769122" y="119641"/>
                  </a:cubicBezTo>
                  <a:cubicBezTo>
                    <a:pt x="779488" y="112236"/>
                    <a:pt x="791911" y="108247"/>
                    <a:pt x="803305" y="102550"/>
                  </a:cubicBezTo>
                  <a:cubicBezTo>
                    <a:pt x="803348" y="102636"/>
                    <a:pt x="830779" y="161028"/>
                    <a:pt x="837488" y="162370"/>
                  </a:cubicBezTo>
                  <a:cubicBezTo>
                    <a:pt x="847559" y="164384"/>
                    <a:pt x="855449" y="152103"/>
                    <a:pt x="863126" y="145279"/>
                  </a:cubicBezTo>
                  <a:cubicBezTo>
                    <a:pt x="909131" y="104386"/>
                    <a:pt x="908937" y="101288"/>
                    <a:pt x="940038" y="59821"/>
                  </a:cubicBezTo>
                  <a:cubicBezTo>
                    <a:pt x="985616" y="128190"/>
                    <a:pt x="916485" y="42938"/>
                    <a:pt x="999858" y="51275"/>
                  </a:cubicBezTo>
                  <a:cubicBezTo>
                    <a:pt x="1019994" y="53289"/>
                    <a:pt x="1046637" y="101708"/>
                    <a:pt x="1059679" y="119641"/>
                  </a:cubicBezTo>
                  <a:cubicBezTo>
                    <a:pt x="1076434" y="142679"/>
                    <a:pt x="1110954" y="188008"/>
                    <a:pt x="1110954" y="188008"/>
                  </a:cubicBezTo>
                  <a:cubicBezTo>
                    <a:pt x="1190394" y="172120"/>
                    <a:pt x="1139981" y="189008"/>
                    <a:pt x="1239141" y="111096"/>
                  </a:cubicBezTo>
                  <a:cubicBezTo>
                    <a:pt x="1250341" y="102296"/>
                    <a:pt x="1273324" y="85458"/>
                    <a:pt x="1273324" y="85458"/>
                  </a:cubicBezTo>
                  <a:cubicBezTo>
                    <a:pt x="1290416" y="91155"/>
                    <a:pt x="1310378" y="91489"/>
                    <a:pt x="1324599" y="102550"/>
                  </a:cubicBezTo>
                  <a:cubicBezTo>
                    <a:pt x="1337710" y="112748"/>
                    <a:pt x="1341433" y="131194"/>
                    <a:pt x="1350236" y="145279"/>
                  </a:cubicBezTo>
                  <a:cubicBezTo>
                    <a:pt x="1355680" y="153989"/>
                    <a:pt x="1359308" y="164500"/>
                    <a:pt x="1367328" y="170916"/>
                  </a:cubicBezTo>
                  <a:cubicBezTo>
                    <a:pt x="1374362" y="176543"/>
                    <a:pt x="1384419" y="176613"/>
                    <a:pt x="1392965" y="179462"/>
                  </a:cubicBezTo>
                  <a:cubicBezTo>
                    <a:pt x="1401511" y="176613"/>
                    <a:pt x="1411492" y="176446"/>
                    <a:pt x="1418602" y="170916"/>
                  </a:cubicBezTo>
                  <a:cubicBezTo>
                    <a:pt x="1437682" y="156076"/>
                    <a:pt x="1469877" y="119641"/>
                    <a:pt x="1469877" y="119641"/>
                  </a:cubicBezTo>
                  <a:cubicBezTo>
                    <a:pt x="1472726" y="111095"/>
                    <a:pt x="1472053" y="100374"/>
                    <a:pt x="1478423" y="94004"/>
                  </a:cubicBezTo>
                  <a:cubicBezTo>
                    <a:pt x="1484793" y="87634"/>
                    <a:pt x="1495267" y="87412"/>
                    <a:pt x="1504060" y="85458"/>
                  </a:cubicBezTo>
                  <a:cubicBezTo>
                    <a:pt x="1520975" y="81699"/>
                    <a:pt x="1538243" y="79761"/>
                    <a:pt x="1555335" y="76912"/>
                  </a:cubicBezTo>
                  <a:cubicBezTo>
                    <a:pt x="1566729" y="94004"/>
                    <a:pt x="1578949" y="110573"/>
                    <a:pt x="1589518" y="128187"/>
                  </a:cubicBezTo>
                  <a:cubicBezTo>
                    <a:pt x="1601606" y="148333"/>
                    <a:pt x="1616266" y="189118"/>
                    <a:pt x="1632247" y="205099"/>
                  </a:cubicBezTo>
                  <a:cubicBezTo>
                    <a:pt x="1638617" y="211469"/>
                    <a:pt x="1649339" y="210796"/>
                    <a:pt x="1657885" y="213645"/>
                  </a:cubicBezTo>
                  <a:cubicBezTo>
                    <a:pt x="1660733" y="205099"/>
                    <a:pt x="1660061" y="194378"/>
                    <a:pt x="1666430" y="188008"/>
                  </a:cubicBezTo>
                  <a:cubicBezTo>
                    <a:pt x="1691070" y="163367"/>
                    <a:pt x="1712957" y="161421"/>
                    <a:pt x="1743342" y="153824"/>
                  </a:cubicBezTo>
                  <a:cubicBezTo>
                    <a:pt x="1754052" y="169889"/>
                    <a:pt x="1767928" y="199889"/>
                    <a:pt x="1794617" y="196553"/>
                  </a:cubicBezTo>
                  <a:cubicBezTo>
                    <a:pt x="1808750" y="194786"/>
                    <a:pt x="1816587" y="178244"/>
                    <a:pt x="1828800" y="170916"/>
                  </a:cubicBezTo>
                  <a:cubicBezTo>
                    <a:pt x="1861295" y="151419"/>
                    <a:pt x="1888424" y="141939"/>
                    <a:pt x="1922804" y="128187"/>
                  </a:cubicBezTo>
                  <a:cubicBezTo>
                    <a:pt x="1931350" y="131036"/>
                    <a:pt x="1940947" y="131736"/>
                    <a:pt x="1948442" y="136733"/>
                  </a:cubicBezTo>
                  <a:cubicBezTo>
                    <a:pt x="1958498" y="143437"/>
                    <a:pt x="1966828" y="152702"/>
                    <a:pt x="1974079" y="162370"/>
                  </a:cubicBezTo>
                  <a:cubicBezTo>
                    <a:pt x="1998296" y="194660"/>
                    <a:pt x="1997747" y="199192"/>
                    <a:pt x="2008262" y="230737"/>
                  </a:cubicBezTo>
                  <a:cubicBezTo>
                    <a:pt x="2025354" y="222191"/>
                    <a:pt x="2044857" y="217332"/>
                    <a:pt x="2059537" y="205099"/>
                  </a:cubicBezTo>
                  <a:cubicBezTo>
                    <a:pt x="2079713" y="188286"/>
                    <a:pt x="2095281" y="166457"/>
                    <a:pt x="2110812" y="145279"/>
                  </a:cubicBezTo>
                  <a:cubicBezTo>
                    <a:pt x="2147980" y="94596"/>
                    <a:pt x="2154834" y="63708"/>
                    <a:pt x="2196270" y="17092"/>
                  </a:cubicBezTo>
                  <a:cubicBezTo>
                    <a:pt x="2203093" y="9416"/>
                    <a:pt x="2213361" y="5697"/>
                    <a:pt x="2221907" y="0"/>
                  </a:cubicBezTo>
                  <a:cubicBezTo>
                    <a:pt x="2251258" y="88055"/>
                    <a:pt x="2240990" y="50695"/>
                    <a:pt x="2256090" y="111096"/>
                  </a:cubicBezTo>
                  <a:cubicBezTo>
                    <a:pt x="2273087" y="99765"/>
                    <a:pt x="2286136" y="81321"/>
                    <a:pt x="2307365" y="102550"/>
                  </a:cubicBezTo>
                  <a:cubicBezTo>
                    <a:pt x="2313735" y="108920"/>
                    <a:pt x="2313062" y="119641"/>
                    <a:pt x="2315911" y="128187"/>
                  </a:cubicBezTo>
                  <a:cubicBezTo>
                    <a:pt x="2330154" y="119641"/>
                    <a:pt x="2343784" y="109978"/>
                    <a:pt x="2358640" y="102550"/>
                  </a:cubicBezTo>
                  <a:cubicBezTo>
                    <a:pt x="2366697" y="98522"/>
                    <a:pt x="2377907" y="87634"/>
                    <a:pt x="2384277" y="94004"/>
                  </a:cubicBezTo>
                  <a:cubicBezTo>
                    <a:pt x="2394548" y="104275"/>
                    <a:pt x="2384766" y="124647"/>
                    <a:pt x="2392823" y="136733"/>
                  </a:cubicBezTo>
                  <a:cubicBezTo>
                    <a:pt x="2402941" y="151909"/>
                    <a:pt x="2421309" y="159522"/>
                    <a:pt x="2435552" y="170916"/>
                  </a:cubicBezTo>
                  <a:cubicBezTo>
                    <a:pt x="2438401" y="182310"/>
                    <a:pt x="2439471" y="194304"/>
                    <a:pt x="2444098" y="205099"/>
                  </a:cubicBezTo>
                  <a:cubicBezTo>
                    <a:pt x="2448144" y="214539"/>
                    <a:pt x="2451749" y="234783"/>
                    <a:pt x="2461189" y="230737"/>
                  </a:cubicBezTo>
                  <a:cubicBezTo>
                    <a:pt x="2481638" y="221973"/>
                    <a:pt x="2489675" y="196554"/>
                    <a:pt x="2503918" y="179462"/>
                  </a:cubicBezTo>
                  <a:cubicBezTo>
                    <a:pt x="2507148" y="166541"/>
                    <a:pt x="2512645" y="119641"/>
                    <a:pt x="2538101" y="119641"/>
                  </a:cubicBezTo>
                  <a:cubicBezTo>
                    <a:pt x="2547109" y="119641"/>
                    <a:pt x="2542618" y="137222"/>
                    <a:pt x="2546647" y="145279"/>
                  </a:cubicBezTo>
                  <a:cubicBezTo>
                    <a:pt x="2554075" y="160136"/>
                    <a:pt x="2563739" y="173765"/>
                    <a:pt x="2572285" y="188008"/>
                  </a:cubicBezTo>
                  <a:cubicBezTo>
                    <a:pt x="2580831" y="185159"/>
                    <a:pt x="2590101" y="183931"/>
                    <a:pt x="2597922" y="179462"/>
                  </a:cubicBezTo>
                  <a:cubicBezTo>
                    <a:pt x="2610288" y="172395"/>
                    <a:pt x="2618410" y="149911"/>
                    <a:pt x="2632105" y="153824"/>
                  </a:cubicBezTo>
                  <a:cubicBezTo>
                    <a:pt x="2648076" y="158387"/>
                    <a:pt x="2645997" y="184808"/>
                    <a:pt x="2657742" y="196553"/>
                  </a:cubicBezTo>
                  <a:cubicBezTo>
                    <a:pt x="2664112" y="202923"/>
                    <a:pt x="2674834" y="202250"/>
                    <a:pt x="2683380" y="205099"/>
                  </a:cubicBezTo>
                  <a:cubicBezTo>
                    <a:pt x="2717563" y="170916"/>
                    <a:pt x="2744476" y="127422"/>
                    <a:pt x="2785929" y="102550"/>
                  </a:cubicBezTo>
                  <a:cubicBezTo>
                    <a:pt x="2814415" y="85458"/>
                    <a:pt x="2842027" y="66818"/>
                    <a:pt x="2871387" y="51275"/>
                  </a:cubicBezTo>
                  <a:cubicBezTo>
                    <a:pt x="2890560" y="41125"/>
                    <a:pt x="2911458" y="34615"/>
                    <a:pt x="2931208" y="25638"/>
                  </a:cubicBezTo>
                  <a:cubicBezTo>
                    <a:pt x="2942805" y="20366"/>
                    <a:pt x="2953997" y="14243"/>
                    <a:pt x="2965391" y="8546"/>
                  </a:cubicBezTo>
                  <a:cubicBezTo>
                    <a:pt x="2973937" y="11395"/>
                    <a:pt x="2986031" y="9597"/>
                    <a:pt x="2991028" y="17092"/>
                  </a:cubicBezTo>
                  <a:cubicBezTo>
                    <a:pt x="2999085" y="29178"/>
                    <a:pt x="2996051" y="45730"/>
                    <a:pt x="2999574" y="59821"/>
                  </a:cubicBezTo>
                  <a:cubicBezTo>
                    <a:pt x="3001759" y="68560"/>
                    <a:pt x="3001750" y="79088"/>
                    <a:pt x="3008120" y="85458"/>
                  </a:cubicBezTo>
                  <a:cubicBezTo>
                    <a:pt x="3014490" y="91828"/>
                    <a:pt x="3025211" y="91155"/>
                    <a:pt x="3033757" y="94004"/>
                  </a:cubicBezTo>
                  <a:cubicBezTo>
                    <a:pt x="3045152" y="105398"/>
                    <a:pt x="3057454" y="115952"/>
                    <a:pt x="3067941" y="128187"/>
                  </a:cubicBezTo>
                  <a:cubicBezTo>
                    <a:pt x="3074625" y="135985"/>
                    <a:pt x="3078348" y="146026"/>
                    <a:pt x="3085032" y="153824"/>
                  </a:cubicBezTo>
                  <a:cubicBezTo>
                    <a:pt x="3095519" y="166059"/>
                    <a:pt x="3107821" y="176613"/>
                    <a:pt x="3119215" y="188008"/>
                  </a:cubicBezTo>
                  <a:cubicBezTo>
                    <a:pt x="3128056" y="214531"/>
                    <a:pt x="3124984" y="233513"/>
                    <a:pt x="3161944" y="196553"/>
                  </a:cubicBezTo>
                  <a:cubicBezTo>
                    <a:pt x="3184910" y="173587"/>
                    <a:pt x="3205055" y="147492"/>
                    <a:pt x="3221765" y="119641"/>
                  </a:cubicBezTo>
                  <a:cubicBezTo>
                    <a:pt x="3230311" y="105398"/>
                    <a:pt x="3235657" y="88657"/>
                    <a:pt x="3247402" y="76912"/>
                  </a:cubicBezTo>
                  <a:cubicBezTo>
                    <a:pt x="3253772" y="70542"/>
                    <a:pt x="3264494" y="71215"/>
                    <a:pt x="3273040" y="68367"/>
                  </a:cubicBezTo>
                  <a:cubicBezTo>
                    <a:pt x="3292631" y="127145"/>
                    <a:pt x="3265835" y="55761"/>
                    <a:pt x="3307223" y="128187"/>
                  </a:cubicBezTo>
                  <a:cubicBezTo>
                    <a:pt x="3332626" y="172641"/>
                    <a:pt x="3292757" y="138482"/>
                    <a:pt x="3341406" y="170916"/>
                  </a:cubicBezTo>
                  <a:cubicBezTo>
                    <a:pt x="3349952" y="168067"/>
                    <a:pt x="3360204" y="168232"/>
                    <a:pt x="3367043" y="162370"/>
                  </a:cubicBezTo>
                  <a:cubicBezTo>
                    <a:pt x="3380892" y="150500"/>
                    <a:pt x="3383235" y="122640"/>
                    <a:pt x="3401227" y="119641"/>
                  </a:cubicBezTo>
                  <a:cubicBezTo>
                    <a:pt x="3413793" y="117547"/>
                    <a:pt x="3412218" y="142640"/>
                    <a:pt x="3418318" y="153824"/>
                  </a:cubicBezTo>
                  <a:cubicBezTo>
                    <a:pt x="3429315" y="173986"/>
                    <a:pt x="3441107" y="193705"/>
                    <a:pt x="3452501" y="213645"/>
                  </a:cubicBezTo>
                  <a:cubicBezTo>
                    <a:pt x="3455350" y="230737"/>
                    <a:pt x="3453298" y="249422"/>
                    <a:pt x="3461047" y="264920"/>
                  </a:cubicBezTo>
                  <a:cubicBezTo>
                    <a:pt x="3465640" y="274106"/>
                    <a:pt x="3478271" y="287901"/>
                    <a:pt x="3486685" y="282011"/>
                  </a:cubicBezTo>
                  <a:cubicBezTo>
                    <a:pt x="3534010" y="248883"/>
                    <a:pt x="3563436" y="161345"/>
                    <a:pt x="3597780" y="119641"/>
                  </a:cubicBezTo>
                  <a:cubicBezTo>
                    <a:pt x="3629670" y="80917"/>
                    <a:pt x="3676182" y="53131"/>
                    <a:pt x="3717421" y="25638"/>
                  </a:cubicBezTo>
                  <a:cubicBezTo>
                    <a:pt x="3723118" y="37032"/>
                    <a:pt x="3730485" y="47735"/>
                    <a:pt x="3734513" y="59821"/>
                  </a:cubicBezTo>
                  <a:cubicBezTo>
                    <a:pt x="3739106" y="73601"/>
                    <a:pt x="3732787" y="92279"/>
                    <a:pt x="3743058" y="102550"/>
                  </a:cubicBezTo>
                  <a:cubicBezTo>
                    <a:pt x="3749428" y="108920"/>
                    <a:pt x="3760150" y="96853"/>
                    <a:pt x="3768696" y="94004"/>
                  </a:cubicBezTo>
                  <a:cubicBezTo>
                    <a:pt x="3777242" y="85458"/>
                    <a:pt x="3785787" y="59821"/>
                    <a:pt x="3794333" y="68367"/>
                  </a:cubicBezTo>
                  <a:cubicBezTo>
                    <a:pt x="3810943" y="84977"/>
                    <a:pt x="3807343" y="113600"/>
                    <a:pt x="3811425" y="136733"/>
                  </a:cubicBezTo>
                  <a:cubicBezTo>
                    <a:pt x="3816634" y="166251"/>
                    <a:pt x="3815534" y="234781"/>
                    <a:pt x="3837062" y="264920"/>
                  </a:cubicBezTo>
                  <a:cubicBezTo>
                    <a:pt x="3842298" y="272250"/>
                    <a:pt x="3854154" y="270617"/>
                    <a:pt x="3862700" y="273466"/>
                  </a:cubicBezTo>
                  <a:cubicBezTo>
                    <a:pt x="3938748" y="258256"/>
                    <a:pt x="3881713" y="281869"/>
                    <a:pt x="3931066" y="205099"/>
                  </a:cubicBezTo>
                  <a:cubicBezTo>
                    <a:pt x="3945268" y="183007"/>
                    <a:pt x="3966425" y="166169"/>
                    <a:pt x="3982341" y="145279"/>
                  </a:cubicBezTo>
                  <a:cubicBezTo>
                    <a:pt x="4086157" y="9021"/>
                    <a:pt x="4024425" y="54555"/>
                    <a:pt x="4093436" y="8546"/>
                  </a:cubicBezTo>
                  <a:cubicBezTo>
                    <a:pt x="4101982" y="31335"/>
                    <a:pt x="4112387" y="53510"/>
                    <a:pt x="4119073" y="76912"/>
                  </a:cubicBezTo>
                  <a:cubicBezTo>
                    <a:pt x="4125264" y="98580"/>
                    <a:pt x="4125501" y="151706"/>
                    <a:pt x="4144711" y="170916"/>
                  </a:cubicBezTo>
                  <a:cubicBezTo>
                    <a:pt x="4153016" y="179221"/>
                    <a:pt x="4167500" y="176613"/>
                    <a:pt x="4178894" y="179462"/>
                  </a:cubicBezTo>
                  <a:cubicBezTo>
                    <a:pt x="4187440" y="173765"/>
                    <a:pt x="4197268" y="169633"/>
                    <a:pt x="4204531" y="162370"/>
                  </a:cubicBezTo>
                  <a:cubicBezTo>
                    <a:pt x="4214602" y="152299"/>
                    <a:pt x="4217430" y="134557"/>
                    <a:pt x="4230169" y="128187"/>
                  </a:cubicBezTo>
                  <a:cubicBezTo>
                    <a:pt x="4238226" y="124159"/>
                    <a:pt x="4247260" y="133884"/>
                    <a:pt x="4255806" y="136733"/>
                  </a:cubicBezTo>
                  <a:cubicBezTo>
                    <a:pt x="4256255" y="139876"/>
                    <a:pt x="4264690" y="232581"/>
                    <a:pt x="4281443" y="239282"/>
                  </a:cubicBezTo>
                  <a:cubicBezTo>
                    <a:pt x="4292664" y="243771"/>
                    <a:pt x="4298535" y="222191"/>
                    <a:pt x="4307081" y="213645"/>
                  </a:cubicBezTo>
                  <a:cubicBezTo>
                    <a:pt x="4311318" y="205171"/>
                    <a:pt x="4332487" y="153824"/>
                    <a:pt x="4349810" y="153824"/>
                  </a:cubicBezTo>
                  <a:cubicBezTo>
                    <a:pt x="4360081" y="153824"/>
                    <a:pt x="4361805" y="170544"/>
                    <a:pt x="4366901" y="179462"/>
                  </a:cubicBezTo>
                  <a:cubicBezTo>
                    <a:pt x="4386764" y="214222"/>
                    <a:pt x="4383192" y="210439"/>
                    <a:pt x="4392539" y="247828"/>
                  </a:cubicBezTo>
                  <a:cubicBezTo>
                    <a:pt x="4403933" y="244979"/>
                    <a:pt x="4417326" y="246329"/>
                    <a:pt x="4426722" y="239282"/>
                  </a:cubicBezTo>
                  <a:cubicBezTo>
                    <a:pt x="4450986" y="221083"/>
                    <a:pt x="4482408" y="158923"/>
                    <a:pt x="4495088" y="136733"/>
                  </a:cubicBezTo>
                  <a:cubicBezTo>
                    <a:pt x="4503634" y="150976"/>
                    <a:pt x="4513298" y="164605"/>
                    <a:pt x="4520726" y="179462"/>
                  </a:cubicBezTo>
                  <a:cubicBezTo>
                    <a:pt x="4533323" y="204655"/>
                    <a:pt x="4557249" y="271923"/>
                    <a:pt x="4580546" y="299103"/>
                  </a:cubicBezTo>
                  <a:cubicBezTo>
                    <a:pt x="4587230" y="306901"/>
                    <a:pt x="4597638" y="310498"/>
                    <a:pt x="4606184" y="316195"/>
                  </a:cubicBezTo>
                  <a:cubicBezTo>
                    <a:pt x="4617578" y="307649"/>
                    <a:pt x="4631098" y="301371"/>
                    <a:pt x="4640367" y="290557"/>
                  </a:cubicBezTo>
                  <a:cubicBezTo>
                    <a:pt x="4665582" y="261139"/>
                    <a:pt x="4708733" y="196553"/>
                    <a:pt x="4708733" y="196553"/>
                  </a:cubicBezTo>
                  <a:cubicBezTo>
                    <a:pt x="4723040" y="139327"/>
                    <a:pt x="4707866" y="161503"/>
                    <a:pt x="4751462" y="205099"/>
                  </a:cubicBezTo>
                  <a:cubicBezTo>
                    <a:pt x="4758725" y="212362"/>
                    <a:pt x="4768554" y="216494"/>
                    <a:pt x="4777100" y="222191"/>
                  </a:cubicBezTo>
                  <a:cubicBezTo>
                    <a:pt x="4844340" y="135739"/>
                    <a:pt x="4813954" y="168245"/>
                    <a:pt x="4862557" y="119641"/>
                  </a:cubicBezTo>
                  <a:cubicBezTo>
                    <a:pt x="4865406" y="131035"/>
                    <a:pt x="4868800" y="142307"/>
                    <a:pt x="4871103" y="153824"/>
                  </a:cubicBezTo>
                  <a:cubicBezTo>
                    <a:pt x="4877349" y="185054"/>
                    <a:pt x="4878124" y="217614"/>
                    <a:pt x="4888195" y="247828"/>
                  </a:cubicBezTo>
                  <a:cubicBezTo>
                    <a:pt x="4892699" y="261340"/>
                    <a:pt x="4907012" y="269507"/>
                    <a:pt x="4913832" y="282011"/>
                  </a:cubicBezTo>
                  <a:cubicBezTo>
                    <a:pt x="4952747" y="353354"/>
                    <a:pt x="4914850" y="333625"/>
                    <a:pt x="4965107" y="350378"/>
                  </a:cubicBezTo>
                  <a:cubicBezTo>
                    <a:pt x="5000827" y="328053"/>
                    <a:pt x="5051742" y="303356"/>
                    <a:pt x="5076202" y="264920"/>
                  </a:cubicBezTo>
                  <a:cubicBezTo>
                    <a:pt x="5101332" y="225430"/>
                    <a:pt x="5086106" y="216177"/>
                    <a:pt x="5101840" y="179462"/>
                  </a:cubicBezTo>
                  <a:cubicBezTo>
                    <a:pt x="5105886" y="170022"/>
                    <a:pt x="5113234" y="162370"/>
                    <a:pt x="5118931" y="153824"/>
                  </a:cubicBezTo>
                  <a:cubicBezTo>
                    <a:pt x="5124628" y="165219"/>
                    <a:pt x="5123382" y="186428"/>
                    <a:pt x="5136023" y="188008"/>
                  </a:cubicBezTo>
                  <a:cubicBezTo>
                    <a:pt x="5173230" y="192659"/>
                    <a:pt x="5189197" y="159522"/>
                    <a:pt x="5204389" y="136733"/>
                  </a:cubicBezTo>
                  <a:cubicBezTo>
                    <a:pt x="5229410" y="236812"/>
                    <a:pt x="5189291" y="90442"/>
                    <a:pt x="5238572" y="213645"/>
                  </a:cubicBezTo>
                  <a:cubicBezTo>
                    <a:pt x="5260783" y="269174"/>
                    <a:pt x="5225959" y="249321"/>
                    <a:pt x="5272756" y="264920"/>
                  </a:cubicBezTo>
                  <a:cubicBezTo>
                    <a:pt x="5284150" y="253526"/>
                    <a:pt x="5297573" y="243850"/>
                    <a:pt x="5306939" y="230737"/>
                  </a:cubicBezTo>
                  <a:cubicBezTo>
                    <a:pt x="5312175" y="223407"/>
                    <a:pt x="5306477" y="205099"/>
                    <a:pt x="5315485" y="205099"/>
                  </a:cubicBezTo>
                  <a:cubicBezTo>
                    <a:pt x="5324493" y="205099"/>
                    <a:pt x="5321845" y="221998"/>
                    <a:pt x="5324030" y="230737"/>
                  </a:cubicBezTo>
                  <a:cubicBezTo>
                    <a:pt x="5327553" y="244828"/>
                    <a:pt x="5329727" y="259223"/>
                    <a:pt x="5332576" y="273466"/>
                  </a:cubicBezTo>
                  <a:cubicBezTo>
                    <a:pt x="5415319" y="211407"/>
                    <a:pt x="5319062" y="293736"/>
                    <a:pt x="5383851" y="196553"/>
                  </a:cubicBezTo>
                  <a:cubicBezTo>
                    <a:pt x="5394944" y="179914"/>
                    <a:pt x="5435063" y="162401"/>
                    <a:pt x="5452217" y="153824"/>
                  </a:cubicBezTo>
                  <a:cubicBezTo>
                    <a:pt x="5496518" y="87373"/>
                    <a:pt x="5473568" y="86510"/>
                    <a:pt x="5520584" y="145279"/>
                  </a:cubicBezTo>
                  <a:cubicBezTo>
                    <a:pt x="5526281" y="170916"/>
                    <a:pt x="5533961" y="196192"/>
                    <a:pt x="5537675" y="222191"/>
                  </a:cubicBezTo>
                  <a:cubicBezTo>
                    <a:pt x="5542526" y="256148"/>
                    <a:pt x="5521966" y="300485"/>
                    <a:pt x="5546221" y="324740"/>
                  </a:cubicBezTo>
                  <a:cubicBezTo>
                    <a:pt x="5562460" y="340979"/>
                    <a:pt x="5569516" y="285141"/>
                    <a:pt x="5580404" y="264920"/>
                  </a:cubicBezTo>
                  <a:cubicBezTo>
                    <a:pt x="5664203" y="109294"/>
                    <a:pt x="5539005" y="330962"/>
                    <a:pt x="5640225" y="153824"/>
                  </a:cubicBezTo>
                  <a:cubicBezTo>
                    <a:pt x="5657899" y="65461"/>
                    <a:pt x="5631656" y="128187"/>
                    <a:pt x="5674408" y="128187"/>
                  </a:cubicBezTo>
                  <a:cubicBezTo>
                    <a:pt x="5684679" y="128187"/>
                    <a:pt x="5690859" y="115689"/>
                    <a:pt x="5700045" y="111096"/>
                  </a:cubicBezTo>
                  <a:cubicBezTo>
                    <a:pt x="5708102" y="107067"/>
                    <a:pt x="5717137" y="105399"/>
                    <a:pt x="5725683" y="102550"/>
                  </a:cubicBezTo>
                  <a:cubicBezTo>
                    <a:pt x="5775931" y="219795"/>
                    <a:pt x="5732768" y="104765"/>
                    <a:pt x="5759866" y="222191"/>
                  </a:cubicBezTo>
                  <a:cubicBezTo>
                    <a:pt x="5763917" y="239746"/>
                    <a:pt x="5772587" y="255988"/>
                    <a:pt x="5776957" y="273466"/>
                  </a:cubicBezTo>
                  <a:cubicBezTo>
                    <a:pt x="5795378" y="347151"/>
                    <a:pt x="5771039" y="303044"/>
                    <a:pt x="5802595" y="350378"/>
                  </a:cubicBezTo>
                  <a:cubicBezTo>
                    <a:pt x="5923338" y="169262"/>
                    <a:pt x="5749978" y="436047"/>
                    <a:pt x="5862415" y="239282"/>
                  </a:cubicBezTo>
                  <a:cubicBezTo>
                    <a:pt x="5874573" y="218006"/>
                    <a:pt x="5891551" y="199851"/>
                    <a:pt x="5905144" y="179462"/>
                  </a:cubicBezTo>
                  <a:cubicBezTo>
                    <a:pt x="5914358" y="165642"/>
                    <a:pt x="5922236" y="150976"/>
                    <a:pt x="5930782" y="136733"/>
                  </a:cubicBezTo>
                  <a:cubicBezTo>
                    <a:pt x="5939328" y="148127"/>
                    <a:pt x="5950049" y="158177"/>
                    <a:pt x="5956419" y="170916"/>
                  </a:cubicBezTo>
                  <a:cubicBezTo>
                    <a:pt x="5964476" y="187030"/>
                    <a:pt x="5967044" y="205376"/>
                    <a:pt x="5973511" y="222191"/>
                  </a:cubicBezTo>
                  <a:cubicBezTo>
                    <a:pt x="5981299" y="242439"/>
                    <a:pt x="5990602" y="262071"/>
                    <a:pt x="5999148" y="282011"/>
                  </a:cubicBezTo>
                  <a:cubicBezTo>
                    <a:pt x="6010542" y="279163"/>
                    <a:pt x="6023133" y="279293"/>
                    <a:pt x="6033331" y="273466"/>
                  </a:cubicBezTo>
                  <a:cubicBezTo>
                    <a:pt x="6055037" y="261062"/>
                    <a:pt x="6068219" y="230032"/>
                    <a:pt x="6084606" y="213645"/>
                  </a:cubicBezTo>
                  <a:cubicBezTo>
                    <a:pt x="6094677" y="203574"/>
                    <a:pt x="6107395" y="196554"/>
                    <a:pt x="6118789" y="188008"/>
                  </a:cubicBezTo>
                  <a:cubicBezTo>
                    <a:pt x="6124486" y="173765"/>
                    <a:pt x="6125034" y="156126"/>
                    <a:pt x="6135881" y="145279"/>
                  </a:cubicBezTo>
                  <a:cubicBezTo>
                    <a:pt x="6144186" y="136974"/>
                    <a:pt x="6159269" y="141360"/>
                    <a:pt x="6170064" y="136733"/>
                  </a:cubicBezTo>
                  <a:cubicBezTo>
                    <a:pt x="6179504" y="132687"/>
                    <a:pt x="6187155" y="125338"/>
                    <a:pt x="6195701" y="119641"/>
                  </a:cubicBezTo>
                  <a:cubicBezTo>
                    <a:pt x="6204247" y="133884"/>
                    <a:pt x="6215752" y="146728"/>
                    <a:pt x="6221339" y="162370"/>
                  </a:cubicBezTo>
                  <a:cubicBezTo>
                    <a:pt x="6235964" y="203320"/>
                    <a:pt x="6251904" y="328772"/>
                    <a:pt x="6255522" y="358924"/>
                  </a:cubicBezTo>
                  <a:cubicBezTo>
                    <a:pt x="6261501" y="408752"/>
                    <a:pt x="6254312" y="452700"/>
                    <a:pt x="6281159" y="495656"/>
                  </a:cubicBezTo>
                  <a:cubicBezTo>
                    <a:pt x="6287564" y="505905"/>
                    <a:pt x="6298251" y="512748"/>
                    <a:pt x="6306797" y="521294"/>
                  </a:cubicBezTo>
                  <a:cubicBezTo>
                    <a:pt x="6321040" y="501354"/>
                    <a:pt x="6337908" y="483049"/>
                    <a:pt x="6349526" y="461473"/>
                  </a:cubicBezTo>
                  <a:cubicBezTo>
                    <a:pt x="6358067" y="445610"/>
                    <a:pt x="6359926" y="426926"/>
                    <a:pt x="6366617" y="410198"/>
                  </a:cubicBezTo>
                  <a:cubicBezTo>
                    <a:pt x="6395267" y="338572"/>
                    <a:pt x="6393635" y="345227"/>
                    <a:pt x="6426438" y="290557"/>
                  </a:cubicBezTo>
                  <a:cubicBezTo>
                    <a:pt x="6429287" y="279163"/>
                    <a:pt x="6430357" y="267169"/>
                    <a:pt x="6434984" y="256374"/>
                  </a:cubicBezTo>
                  <a:cubicBezTo>
                    <a:pt x="6439030" y="246934"/>
                    <a:pt x="6446979" y="239654"/>
                    <a:pt x="6452075" y="230737"/>
                  </a:cubicBezTo>
                  <a:cubicBezTo>
                    <a:pt x="6458396" y="219676"/>
                    <a:pt x="6463470" y="207948"/>
                    <a:pt x="6469167" y="196553"/>
                  </a:cubicBezTo>
                  <a:cubicBezTo>
                    <a:pt x="6508829" y="315541"/>
                    <a:pt x="6497426" y="263561"/>
                    <a:pt x="6511896" y="350378"/>
                  </a:cubicBezTo>
                  <a:cubicBezTo>
                    <a:pt x="6517593" y="341832"/>
                    <a:pt x="6522825" y="332957"/>
                    <a:pt x="6528987" y="324740"/>
                  </a:cubicBezTo>
                  <a:cubicBezTo>
                    <a:pt x="6548474" y="298757"/>
                    <a:pt x="6570791" y="274852"/>
                    <a:pt x="6588808" y="247828"/>
                  </a:cubicBezTo>
                  <a:cubicBezTo>
                    <a:pt x="6612604" y="212135"/>
                    <a:pt x="6598638" y="229454"/>
                    <a:pt x="6631537" y="196553"/>
                  </a:cubicBezTo>
                  <a:cubicBezTo>
                    <a:pt x="6645780" y="213645"/>
                    <a:pt x="6654817" y="237023"/>
                    <a:pt x="6674266" y="247828"/>
                  </a:cubicBezTo>
                  <a:cubicBezTo>
                    <a:pt x="6684533" y="253532"/>
                    <a:pt x="6700715" y="248121"/>
                    <a:pt x="6708449" y="239282"/>
                  </a:cubicBezTo>
                  <a:cubicBezTo>
                    <a:pt x="6722735" y="222956"/>
                    <a:pt x="6726029" y="199604"/>
                    <a:pt x="6734086" y="179462"/>
                  </a:cubicBezTo>
                  <a:cubicBezTo>
                    <a:pt x="6737432" y="171098"/>
                    <a:pt x="6737004" y="160858"/>
                    <a:pt x="6742632" y="153824"/>
                  </a:cubicBezTo>
                  <a:cubicBezTo>
                    <a:pt x="6749048" y="145804"/>
                    <a:pt x="6759724" y="142430"/>
                    <a:pt x="6768270" y="136733"/>
                  </a:cubicBezTo>
                  <a:cubicBezTo>
                    <a:pt x="6813784" y="151905"/>
                    <a:pt x="6778860" y="149663"/>
                    <a:pt x="6810999" y="111096"/>
                  </a:cubicBezTo>
                  <a:cubicBezTo>
                    <a:pt x="6817574" y="103206"/>
                    <a:pt x="6828090" y="99701"/>
                    <a:pt x="6836636" y="94004"/>
                  </a:cubicBezTo>
                  <a:cubicBezTo>
                    <a:pt x="6845182" y="96853"/>
                    <a:pt x="6854216" y="98522"/>
                    <a:pt x="6862273" y="102550"/>
                  </a:cubicBezTo>
                  <a:cubicBezTo>
                    <a:pt x="6871460" y="107143"/>
                    <a:pt x="6878035" y="122463"/>
                    <a:pt x="6887911" y="119641"/>
                  </a:cubicBezTo>
                  <a:cubicBezTo>
                    <a:pt x="6904977" y="114765"/>
                    <a:pt x="6928694" y="75558"/>
                    <a:pt x="6939185" y="59821"/>
                  </a:cubicBezTo>
                  <a:cubicBezTo>
                    <a:pt x="6959125" y="94004"/>
                    <a:pt x="6991245" y="123565"/>
                    <a:pt x="6999006" y="162370"/>
                  </a:cubicBezTo>
                  <a:cubicBezTo>
                    <a:pt x="7001855" y="176613"/>
                    <a:pt x="6999495" y="193013"/>
                    <a:pt x="7007552" y="205099"/>
                  </a:cubicBezTo>
                  <a:cubicBezTo>
                    <a:pt x="7012549" y="212594"/>
                    <a:pt x="7024643" y="210796"/>
                    <a:pt x="7033189" y="213645"/>
                  </a:cubicBezTo>
                  <a:cubicBezTo>
                    <a:pt x="7044583" y="196553"/>
                    <a:pt x="7057396" y="180327"/>
                    <a:pt x="7067372" y="162370"/>
                  </a:cubicBezTo>
                  <a:cubicBezTo>
                    <a:pt x="7087680" y="125817"/>
                    <a:pt x="7060969" y="144208"/>
                    <a:pt x="7093010" y="128187"/>
                  </a:cubicBezTo>
                </a:path>
              </a:pathLst>
            </a:cu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dirty="0"/>
            </a:p>
          </p:txBody>
        </p:sp>
        <p:cxnSp>
          <p:nvCxnSpPr>
            <p:cNvPr id="45" name="Straight Arrow Connector 44"/>
            <p:cNvCxnSpPr/>
            <p:nvPr/>
          </p:nvCxnSpPr>
          <p:spPr>
            <a:xfrm>
              <a:off x="3128778" y="2538857"/>
              <a:ext cx="0" cy="212631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TextBox 45"/>
            <p:cNvSpPr txBox="1"/>
            <p:nvPr/>
          </p:nvSpPr>
          <p:spPr>
            <a:xfrm>
              <a:off x="3464416" y="2531477"/>
              <a:ext cx="1028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dirty="0"/>
                <a:t>Track Irregularities</a:t>
              </a:r>
            </a:p>
          </p:txBody>
        </p:sp>
        <p:sp>
          <p:nvSpPr>
            <p:cNvPr id="47" name="Oval 46"/>
            <p:cNvSpPr/>
            <p:nvPr/>
          </p:nvSpPr>
          <p:spPr>
            <a:xfrm>
              <a:off x="2936201" y="2590206"/>
              <a:ext cx="407032" cy="381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dirty="0"/>
            </a:p>
          </p:txBody>
        </p:sp>
      </p:grpSp>
      <p:grpSp>
        <p:nvGrpSpPr>
          <p:cNvPr id="48" name="Group 47"/>
          <p:cNvGrpSpPr/>
          <p:nvPr/>
        </p:nvGrpSpPr>
        <p:grpSpPr>
          <a:xfrm>
            <a:off x="5574211" y="1202080"/>
            <a:ext cx="2476894" cy="1870376"/>
            <a:chOff x="1104909" y="3283351"/>
            <a:chExt cx="2727798" cy="2155134"/>
          </a:xfrm>
        </p:grpSpPr>
        <p:cxnSp>
          <p:nvCxnSpPr>
            <p:cNvPr id="49" name="Straight Connector 48"/>
            <p:cNvCxnSpPr/>
            <p:nvPr/>
          </p:nvCxnSpPr>
          <p:spPr>
            <a:xfrm>
              <a:off x="2293688" y="4691125"/>
              <a:ext cx="160949" cy="381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/>
          </p:nvCxnSpPr>
          <p:spPr>
            <a:xfrm>
              <a:off x="2462022" y="4268850"/>
              <a:ext cx="152400" cy="381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/>
            <p:cNvCxnSpPr/>
            <p:nvPr/>
          </p:nvCxnSpPr>
          <p:spPr>
            <a:xfrm flipV="1">
              <a:off x="2290677" y="4614925"/>
              <a:ext cx="327919" cy="762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/>
          </p:nvCxnSpPr>
          <p:spPr>
            <a:xfrm flipH="1" flipV="1">
              <a:off x="2302235" y="4538725"/>
              <a:ext cx="316586" cy="762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/>
            <p:nvPr/>
          </p:nvCxnSpPr>
          <p:spPr>
            <a:xfrm flipV="1">
              <a:off x="2290675" y="4462525"/>
              <a:ext cx="331320" cy="762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/>
          </p:nvCxnSpPr>
          <p:spPr>
            <a:xfrm flipH="1" flipV="1">
              <a:off x="2293686" y="4383150"/>
              <a:ext cx="336530" cy="762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/>
            <p:nvPr/>
          </p:nvCxnSpPr>
          <p:spPr>
            <a:xfrm flipH="1">
              <a:off x="2294848" y="4306950"/>
              <a:ext cx="319574" cy="762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/>
          </p:nvCxnSpPr>
          <p:spPr>
            <a:xfrm>
              <a:off x="2344419" y="3625647"/>
              <a:ext cx="2286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/>
          </p:nvCxnSpPr>
          <p:spPr>
            <a:xfrm>
              <a:off x="2344419" y="3498648"/>
              <a:ext cx="0" cy="127001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/>
          </p:nvCxnSpPr>
          <p:spPr>
            <a:xfrm>
              <a:off x="2573019" y="3498648"/>
              <a:ext cx="0" cy="127001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/>
            <p:cNvCxnSpPr/>
            <p:nvPr/>
          </p:nvCxnSpPr>
          <p:spPr>
            <a:xfrm>
              <a:off x="2344419" y="3539922"/>
              <a:ext cx="2286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/>
            <p:cNvCxnSpPr/>
            <p:nvPr/>
          </p:nvCxnSpPr>
          <p:spPr>
            <a:xfrm flipV="1">
              <a:off x="2463703" y="4195825"/>
              <a:ext cx="0" cy="7302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/>
            <p:cNvCxnSpPr/>
            <p:nvPr/>
          </p:nvCxnSpPr>
          <p:spPr>
            <a:xfrm flipV="1">
              <a:off x="2463446" y="3362932"/>
              <a:ext cx="0" cy="176992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/>
            <p:cNvCxnSpPr/>
            <p:nvPr/>
          </p:nvCxnSpPr>
          <p:spPr>
            <a:xfrm flipH="1" flipV="1">
              <a:off x="2464622" y="3628824"/>
              <a:ext cx="991" cy="182633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Rectangle 62"/>
            <p:cNvSpPr/>
            <p:nvPr/>
          </p:nvSpPr>
          <p:spPr>
            <a:xfrm>
              <a:off x="2133805" y="3820521"/>
              <a:ext cx="687350" cy="381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dirty="0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4" name="TextBox 63"/>
                <p:cNvSpPr txBox="1"/>
                <p:nvPr/>
              </p:nvSpPr>
              <p:spPr>
                <a:xfrm>
                  <a:off x="1979375" y="4345050"/>
                  <a:ext cx="383182" cy="29129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12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200" b="0" i="1" smtClean="0">
                                <a:latin typeface="Cambria Math"/>
                              </a:rPr>
                              <m:t>𝑘</m:t>
                            </m:r>
                          </m:e>
                          <m:sub>
                            <m:r>
                              <a:rPr lang="en-US" sz="1200" b="0" i="1" smtClean="0">
                                <a:latin typeface="Cambria Math"/>
                              </a:rPr>
                              <m:t>𝑝</m:t>
                            </m:r>
                          </m:sub>
                        </m:sSub>
                      </m:oMath>
                    </m:oMathPara>
                  </a14:m>
                  <a:endParaRPr lang="sv-SE" sz="1200" dirty="0"/>
                </a:p>
              </p:txBody>
            </p:sp>
          </mc:Choice>
          <mc:Fallback xmlns="">
            <p:sp>
              <p:nvSpPr>
                <p:cNvPr id="64" name="TextBox 63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979375" y="4345050"/>
                  <a:ext cx="383182" cy="291298"/>
                </a:xfrm>
                <a:prstGeom prst="rect">
                  <a:avLst/>
                </a:prstGeom>
                <a:blipFill rotWithShape="1">
                  <a:blip r:embed="rId8"/>
                  <a:stretch>
                    <a:fillRect b="-9524"/>
                  </a:stretch>
                </a:blipFill>
              </p:spPr>
              <p:txBody>
                <a:bodyPr/>
                <a:lstStyle/>
                <a:p>
                  <a:r>
                    <a:rPr lang="sv-S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5" name="TextBox 64"/>
                <p:cNvSpPr txBox="1"/>
                <p:nvPr/>
              </p:nvSpPr>
              <p:spPr>
                <a:xfrm>
                  <a:off x="2250664" y="3865372"/>
                  <a:ext cx="426463" cy="29129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12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200" b="0" i="1" smtClean="0">
                                <a:latin typeface="Cambria Math"/>
                              </a:rPr>
                              <m:t>𝑚</m:t>
                            </m:r>
                          </m:e>
                          <m:sub>
                            <m:r>
                              <a:rPr lang="en-US" sz="1200" b="0" i="1" smtClean="0">
                                <a:latin typeface="Cambria Math"/>
                              </a:rPr>
                              <m:t>𝑝</m:t>
                            </m:r>
                          </m:sub>
                        </m:sSub>
                      </m:oMath>
                    </m:oMathPara>
                  </a14:m>
                  <a:endParaRPr lang="sv-SE" sz="1200" dirty="0"/>
                </a:p>
              </p:txBody>
            </p:sp>
          </mc:Choice>
          <mc:Fallback xmlns="">
            <p:sp>
              <p:nvSpPr>
                <p:cNvPr id="65" name="TextBox 64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250664" y="3865372"/>
                  <a:ext cx="426463" cy="291298"/>
                </a:xfrm>
                <a:prstGeom prst="rect">
                  <a:avLst/>
                </a:prstGeom>
                <a:blipFill rotWithShape="1">
                  <a:blip r:embed="rId9"/>
                  <a:stretch>
                    <a:fillRect b="-9524"/>
                  </a:stretch>
                </a:blipFill>
              </p:spPr>
              <p:txBody>
                <a:bodyPr/>
                <a:lstStyle/>
                <a:p>
                  <a:r>
                    <a:rPr lang="sv-SE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66" name="Straight Connector 65"/>
            <p:cNvCxnSpPr>
              <a:stCxn id="63" idx="1"/>
            </p:cNvCxnSpPr>
            <p:nvPr/>
          </p:nvCxnSpPr>
          <p:spPr>
            <a:xfrm flipH="1">
              <a:off x="1870664" y="4011021"/>
              <a:ext cx="263143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Arrow Connector 66"/>
            <p:cNvCxnSpPr/>
            <p:nvPr/>
          </p:nvCxnSpPr>
          <p:spPr>
            <a:xfrm flipV="1">
              <a:off x="1870662" y="3865372"/>
              <a:ext cx="0" cy="145650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/>
            <p:cNvCxnSpPr/>
            <p:nvPr/>
          </p:nvCxnSpPr>
          <p:spPr>
            <a:xfrm flipH="1">
              <a:off x="2019777" y="4979401"/>
              <a:ext cx="263143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Arrow Connector 68"/>
            <p:cNvCxnSpPr/>
            <p:nvPr/>
          </p:nvCxnSpPr>
          <p:spPr>
            <a:xfrm flipV="1">
              <a:off x="2019775" y="4666664"/>
              <a:ext cx="2" cy="312738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0" name="TextBox 69"/>
                <p:cNvSpPr txBox="1"/>
                <p:nvPr/>
              </p:nvSpPr>
              <p:spPr>
                <a:xfrm>
                  <a:off x="1509028" y="3752938"/>
                  <a:ext cx="338682" cy="25808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10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000" b="0" i="1" smtClean="0">
                                <a:latin typeface="Cambria Math"/>
                              </a:rPr>
                              <m:t>𝑧</m:t>
                            </m:r>
                          </m:e>
                          <m:sub>
                            <m:r>
                              <a:rPr lang="en-US" sz="1000" b="0" i="1" smtClean="0">
                                <a:latin typeface="Cambria Math"/>
                              </a:rPr>
                              <m:t>𝑝</m:t>
                            </m:r>
                          </m:sub>
                        </m:sSub>
                      </m:oMath>
                    </m:oMathPara>
                  </a14:m>
                  <a:endParaRPr lang="sv-SE" sz="1000" dirty="0"/>
                </a:p>
              </p:txBody>
            </p:sp>
          </mc:Choice>
          <mc:Fallback xmlns="">
            <p:sp>
              <p:nvSpPr>
                <p:cNvPr id="70" name="TextBox 6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509028" y="3752938"/>
                  <a:ext cx="338682" cy="258084"/>
                </a:xfrm>
                <a:prstGeom prst="rect">
                  <a:avLst/>
                </a:prstGeom>
                <a:blipFill rotWithShape="1">
                  <a:blip r:embed="rId10"/>
                  <a:stretch>
                    <a:fillRect b="-8108"/>
                  </a:stretch>
                </a:blipFill>
              </p:spPr>
              <p:txBody>
                <a:bodyPr/>
                <a:lstStyle/>
                <a:p>
                  <a:r>
                    <a:rPr lang="sv-S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1" name="TextBox 70"/>
                <p:cNvSpPr txBox="1"/>
                <p:nvPr/>
              </p:nvSpPr>
              <p:spPr>
                <a:xfrm>
                  <a:off x="1669388" y="4662456"/>
                  <a:ext cx="367921" cy="24622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10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000" b="0" i="1" smtClean="0">
                                <a:latin typeface="Cambria Math"/>
                              </a:rPr>
                              <m:t>𝑧</m:t>
                            </m:r>
                          </m:e>
                          <m:sub>
                            <m:r>
                              <a:rPr lang="en-US" sz="1000" b="0" i="1" smtClean="0">
                                <a:latin typeface="Cambria Math"/>
                              </a:rPr>
                              <m:t>𝑤</m:t>
                            </m:r>
                          </m:sub>
                        </m:sSub>
                      </m:oMath>
                    </m:oMathPara>
                  </a14:m>
                  <a:endParaRPr lang="sv-SE" sz="1000" dirty="0"/>
                </a:p>
              </p:txBody>
            </p:sp>
          </mc:Choice>
          <mc:Fallback xmlns="">
            <p:sp>
              <p:nvSpPr>
                <p:cNvPr id="71" name="TextBox 70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669388" y="4662456"/>
                  <a:ext cx="367921" cy="246221"/>
                </a:xfrm>
                <a:prstGeom prst="rect">
                  <a:avLst/>
                </a:prstGeom>
                <a:blipFill rotWithShape="1">
                  <a:blip r:embed="rId11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sv-S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2" name="TextBox 71"/>
                <p:cNvSpPr txBox="1"/>
                <p:nvPr/>
              </p:nvSpPr>
              <p:spPr>
                <a:xfrm>
                  <a:off x="2565399" y="3301686"/>
                  <a:ext cx="364972" cy="29129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12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200" b="0" i="1" smtClean="0">
                                <a:latin typeface="Cambria Math"/>
                              </a:rPr>
                              <m:t>𝑐</m:t>
                            </m:r>
                          </m:e>
                          <m:sub>
                            <m:r>
                              <a:rPr lang="en-US" sz="1200" b="0" i="1" smtClean="0">
                                <a:latin typeface="Cambria Math"/>
                              </a:rPr>
                              <m:t>𝑝</m:t>
                            </m:r>
                          </m:sub>
                        </m:sSub>
                      </m:oMath>
                    </m:oMathPara>
                  </a14:m>
                  <a:endParaRPr lang="sv-SE" sz="1200" dirty="0"/>
                </a:p>
              </p:txBody>
            </p:sp>
          </mc:Choice>
          <mc:Fallback xmlns="">
            <p:sp>
              <p:nvSpPr>
                <p:cNvPr id="72" name="TextBox 71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565399" y="3301686"/>
                  <a:ext cx="364972" cy="291298"/>
                </a:xfrm>
                <a:prstGeom prst="rect">
                  <a:avLst/>
                </a:prstGeom>
                <a:blipFill rotWithShape="1">
                  <a:blip r:embed="rId12"/>
                  <a:stretch>
                    <a:fillRect b="-12195"/>
                  </a:stretch>
                </a:blipFill>
              </p:spPr>
              <p:txBody>
                <a:bodyPr/>
                <a:lstStyle/>
                <a:p>
                  <a:r>
                    <a:rPr lang="sv-S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73" name="Freeform 72"/>
            <p:cNvSpPr/>
            <p:nvPr/>
          </p:nvSpPr>
          <p:spPr>
            <a:xfrm>
              <a:off x="1104909" y="5125850"/>
              <a:ext cx="2537389" cy="312635"/>
            </a:xfrm>
            <a:custGeom>
              <a:avLst/>
              <a:gdLst>
                <a:gd name="connsiteX0" fmla="*/ 0 w 7093010"/>
                <a:gd name="connsiteY0" fmla="*/ 145279 h 521294"/>
                <a:gd name="connsiteX1" fmla="*/ 42729 w 7093010"/>
                <a:gd name="connsiteY1" fmla="*/ 136733 h 521294"/>
                <a:gd name="connsiteX2" fmla="*/ 162371 w 7093010"/>
                <a:gd name="connsiteY2" fmla="*/ 119641 h 521294"/>
                <a:gd name="connsiteX3" fmla="*/ 188008 w 7093010"/>
                <a:gd name="connsiteY3" fmla="*/ 102550 h 521294"/>
                <a:gd name="connsiteX4" fmla="*/ 213645 w 7093010"/>
                <a:gd name="connsiteY4" fmla="*/ 94004 h 521294"/>
                <a:gd name="connsiteX5" fmla="*/ 299103 w 7093010"/>
                <a:gd name="connsiteY5" fmla="*/ 119641 h 521294"/>
                <a:gd name="connsiteX6" fmla="*/ 316195 w 7093010"/>
                <a:gd name="connsiteY6" fmla="*/ 145279 h 521294"/>
                <a:gd name="connsiteX7" fmla="*/ 358924 w 7093010"/>
                <a:gd name="connsiteY7" fmla="*/ 136733 h 521294"/>
                <a:gd name="connsiteX8" fmla="*/ 384561 w 7093010"/>
                <a:gd name="connsiteY8" fmla="*/ 119641 h 521294"/>
                <a:gd name="connsiteX9" fmla="*/ 418744 w 7093010"/>
                <a:gd name="connsiteY9" fmla="*/ 102550 h 521294"/>
                <a:gd name="connsiteX10" fmla="*/ 461473 w 7093010"/>
                <a:gd name="connsiteY10" fmla="*/ 76912 h 521294"/>
                <a:gd name="connsiteX11" fmla="*/ 504202 w 7093010"/>
                <a:gd name="connsiteY11" fmla="*/ 68367 h 521294"/>
                <a:gd name="connsiteX12" fmla="*/ 529840 w 7093010"/>
                <a:gd name="connsiteY12" fmla="*/ 51275 h 521294"/>
                <a:gd name="connsiteX13" fmla="*/ 572569 w 7093010"/>
                <a:gd name="connsiteY13" fmla="*/ 102550 h 521294"/>
                <a:gd name="connsiteX14" fmla="*/ 623843 w 7093010"/>
                <a:gd name="connsiteY14" fmla="*/ 153824 h 521294"/>
                <a:gd name="connsiteX15" fmla="*/ 649481 w 7093010"/>
                <a:gd name="connsiteY15" fmla="*/ 222191 h 521294"/>
                <a:gd name="connsiteX16" fmla="*/ 675118 w 7093010"/>
                <a:gd name="connsiteY16" fmla="*/ 205099 h 521294"/>
                <a:gd name="connsiteX17" fmla="*/ 717847 w 7093010"/>
                <a:gd name="connsiteY17" fmla="*/ 162370 h 521294"/>
                <a:gd name="connsiteX18" fmla="*/ 743485 w 7093010"/>
                <a:gd name="connsiteY18" fmla="*/ 145279 h 521294"/>
                <a:gd name="connsiteX19" fmla="*/ 769122 w 7093010"/>
                <a:gd name="connsiteY19" fmla="*/ 119641 h 521294"/>
                <a:gd name="connsiteX20" fmla="*/ 803305 w 7093010"/>
                <a:gd name="connsiteY20" fmla="*/ 102550 h 521294"/>
                <a:gd name="connsiteX21" fmla="*/ 837488 w 7093010"/>
                <a:gd name="connsiteY21" fmla="*/ 162370 h 521294"/>
                <a:gd name="connsiteX22" fmla="*/ 863126 w 7093010"/>
                <a:gd name="connsiteY22" fmla="*/ 145279 h 521294"/>
                <a:gd name="connsiteX23" fmla="*/ 940038 w 7093010"/>
                <a:gd name="connsiteY23" fmla="*/ 59821 h 521294"/>
                <a:gd name="connsiteX24" fmla="*/ 999858 w 7093010"/>
                <a:gd name="connsiteY24" fmla="*/ 51275 h 521294"/>
                <a:gd name="connsiteX25" fmla="*/ 1059679 w 7093010"/>
                <a:gd name="connsiteY25" fmla="*/ 119641 h 521294"/>
                <a:gd name="connsiteX26" fmla="*/ 1110954 w 7093010"/>
                <a:gd name="connsiteY26" fmla="*/ 188008 h 521294"/>
                <a:gd name="connsiteX27" fmla="*/ 1239141 w 7093010"/>
                <a:gd name="connsiteY27" fmla="*/ 111096 h 521294"/>
                <a:gd name="connsiteX28" fmla="*/ 1273324 w 7093010"/>
                <a:gd name="connsiteY28" fmla="*/ 85458 h 521294"/>
                <a:gd name="connsiteX29" fmla="*/ 1324599 w 7093010"/>
                <a:gd name="connsiteY29" fmla="*/ 102550 h 521294"/>
                <a:gd name="connsiteX30" fmla="*/ 1350236 w 7093010"/>
                <a:gd name="connsiteY30" fmla="*/ 145279 h 521294"/>
                <a:gd name="connsiteX31" fmla="*/ 1367328 w 7093010"/>
                <a:gd name="connsiteY31" fmla="*/ 170916 h 521294"/>
                <a:gd name="connsiteX32" fmla="*/ 1392965 w 7093010"/>
                <a:gd name="connsiteY32" fmla="*/ 179462 h 521294"/>
                <a:gd name="connsiteX33" fmla="*/ 1418602 w 7093010"/>
                <a:gd name="connsiteY33" fmla="*/ 170916 h 521294"/>
                <a:gd name="connsiteX34" fmla="*/ 1469877 w 7093010"/>
                <a:gd name="connsiteY34" fmla="*/ 119641 h 521294"/>
                <a:gd name="connsiteX35" fmla="*/ 1478423 w 7093010"/>
                <a:gd name="connsiteY35" fmla="*/ 94004 h 521294"/>
                <a:gd name="connsiteX36" fmla="*/ 1504060 w 7093010"/>
                <a:gd name="connsiteY36" fmla="*/ 85458 h 521294"/>
                <a:gd name="connsiteX37" fmla="*/ 1555335 w 7093010"/>
                <a:gd name="connsiteY37" fmla="*/ 76912 h 521294"/>
                <a:gd name="connsiteX38" fmla="*/ 1589518 w 7093010"/>
                <a:gd name="connsiteY38" fmla="*/ 128187 h 521294"/>
                <a:gd name="connsiteX39" fmla="*/ 1632247 w 7093010"/>
                <a:gd name="connsiteY39" fmla="*/ 205099 h 521294"/>
                <a:gd name="connsiteX40" fmla="*/ 1657885 w 7093010"/>
                <a:gd name="connsiteY40" fmla="*/ 213645 h 521294"/>
                <a:gd name="connsiteX41" fmla="*/ 1666430 w 7093010"/>
                <a:gd name="connsiteY41" fmla="*/ 188008 h 521294"/>
                <a:gd name="connsiteX42" fmla="*/ 1743342 w 7093010"/>
                <a:gd name="connsiteY42" fmla="*/ 153824 h 521294"/>
                <a:gd name="connsiteX43" fmla="*/ 1794617 w 7093010"/>
                <a:gd name="connsiteY43" fmla="*/ 196553 h 521294"/>
                <a:gd name="connsiteX44" fmla="*/ 1828800 w 7093010"/>
                <a:gd name="connsiteY44" fmla="*/ 170916 h 521294"/>
                <a:gd name="connsiteX45" fmla="*/ 1922804 w 7093010"/>
                <a:gd name="connsiteY45" fmla="*/ 128187 h 521294"/>
                <a:gd name="connsiteX46" fmla="*/ 1948442 w 7093010"/>
                <a:gd name="connsiteY46" fmla="*/ 136733 h 521294"/>
                <a:gd name="connsiteX47" fmla="*/ 1974079 w 7093010"/>
                <a:gd name="connsiteY47" fmla="*/ 162370 h 521294"/>
                <a:gd name="connsiteX48" fmla="*/ 2008262 w 7093010"/>
                <a:gd name="connsiteY48" fmla="*/ 230737 h 521294"/>
                <a:gd name="connsiteX49" fmla="*/ 2059537 w 7093010"/>
                <a:gd name="connsiteY49" fmla="*/ 205099 h 521294"/>
                <a:gd name="connsiteX50" fmla="*/ 2110812 w 7093010"/>
                <a:gd name="connsiteY50" fmla="*/ 145279 h 521294"/>
                <a:gd name="connsiteX51" fmla="*/ 2196270 w 7093010"/>
                <a:gd name="connsiteY51" fmla="*/ 17092 h 521294"/>
                <a:gd name="connsiteX52" fmla="*/ 2221907 w 7093010"/>
                <a:gd name="connsiteY52" fmla="*/ 0 h 521294"/>
                <a:gd name="connsiteX53" fmla="*/ 2256090 w 7093010"/>
                <a:gd name="connsiteY53" fmla="*/ 111096 h 521294"/>
                <a:gd name="connsiteX54" fmla="*/ 2307365 w 7093010"/>
                <a:gd name="connsiteY54" fmla="*/ 102550 h 521294"/>
                <a:gd name="connsiteX55" fmla="*/ 2315911 w 7093010"/>
                <a:gd name="connsiteY55" fmla="*/ 128187 h 521294"/>
                <a:gd name="connsiteX56" fmla="*/ 2358640 w 7093010"/>
                <a:gd name="connsiteY56" fmla="*/ 102550 h 521294"/>
                <a:gd name="connsiteX57" fmla="*/ 2384277 w 7093010"/>
                <a:gd name="connsiteY57" fmla="*/ 94004 h 521294"/>
                <a:gd name="connsiteX58" fmla="*/ 2392823 w 7093010"/>
                <a:gd name="connsiteY58" fmla="*/ 136733 h 521294"/>
                <a:gd name="connsiteX59" fmla="*/ 2435552 w 7093010"/>
                <a:gd name="connsiteY59" fmla="*/ 170916 h 521294"/>
                <a:gd name="connsiteX60" fmla="*/ 2444098 w 7093010"/>
                <a:gd name="connsiteY60" fmla="*/ 205099 h 521294"/>
                <a:gd name="connsiteX61" fmla="*/ 2461189 w 7093010"/>
                <a:gd name="connsiteY61" fmla="*/ 230737 h 521294"/>
                <a:gd name="connsiteX62" fmla="*/ 2503918 w 7093010"/>
                <a:gd name="connsiteY62" fmla="*/ 179462 h 521294"/>
                <a:gd name="connsiteX63" fmla="*/ 2538101 w 7093010"/>
                <a:gd name="connsiteY63" fmla="*/ 119641 h 521294"/>
                <a:gd name="connsiteX64" fmla="*/ 2546647 w 7093010"/>
                <a:gd name="connsiteY64" fmla="*/ 145279 h 521294"/>
                <a:gd name="connsiteX65" fmla="*/ 2572285 w 7093010"/>
                <a:gd name="connsiteY65" fmla="*/ 188008 h 521294"/>
                <a:gd name="connsiteX66" fmla="*/ 2597922 w 7093010"/>
                <a:gd name="connsiteY66" fmla="*/ 179462 h 521294"/>
                <a:gd name="connsiteX67" fmla="*/ 2632105 w 7093010"/>
                <a:gd name="connsiteY67" fmla="*/ 153824 h 521294"/>
                <a:gd name="connsiteX68" fmla="*/ 2657742 w 7093010"/>
                <a:gd name="connsiteY68" fmla="*/ 196553 h 521294"/>
                <a:gd name="connsiteX69" fmla="*/ 2683380 w 7093010"/>
                <a:gd name="connsiteY69" fmla="*/ 205099 h 521294"/>
                <a:gd name="connsiteX70" fmla="*/ 2785929 w 7093010"/>
                <a:gd name="connsiteY70" fmla="*/ 102550 h 521294"/>
                <a:gd name="connsiteX71" fmla="*/ 2871387 w 7093010"/>
                <a:gd name="connsiteY71" fmla="*/ 51275 h 521294"/>
                <a:gd name="connsiteX72" fmla="*/ 2931208 w 7093010"/>
                <a:gd name="connsiteY72" fmla="*/ 25638 h 521294"/>
                <a:gd name="connsiteX73" fmla="*/ 2965391 w 7093010"/>
                <a:gd name="connsiteY73" fmla="*/ 8546 h 521294"/>
                <a:gd name="connsiteX74" fmla="*/ 2991028 w 7093010"/>
                <a:gd name="connsiteY74" fmla="*/ 17092 h 521294"/>
                <a:gd name="connsiteX75" fmla="*/ 2999574 w 7093010"/>
                <a:gd name="connsiteY75" fmla="*/ 59821 h 521294"/>
                <a:gd name="connsiteX76" fmla="*/ 3008120 w 7093010"/>
                <a:gd name="connsiteY76" fmla="*/ 85458 h 521294"/>
                <a:gd name="connsiteX77" fmla="*/ 3033757 w 7093010"/>
                <a:gd name="connsiteY77" fmla="*/ 94004 h 521294"/>
                <a:gd name="connsiteX78" fmla="*/ 3067941 w 7093010"/>
                <a:gd name="connsiteY78" fmla="*/ 128187 h 521294"/>
                <a:gd name="connsiteX79" fmla="*/ 3085032 w 7093010"/>
                <a:gd name="connsiteY79" fmla="*/ 153824 h 521294"/>
                <a:gd name="connsiteX80" fmla="*/ 3119215 w 7093010"/>
                <a:gd name="connsiteY80" fmla="*/ 188008 h 521294"/>
                <a:gd name="connsiteX81" fmla="*/ 3161944 w 7093010"/>
                <a:gd name="connsiteY81" fmla="*/ 196553 h 521294"/>
                <a:gd name="connsiteX82" fmla="*/ 3221765 w 7093010"/>
                <a:gd name="connsiteY82" fmla="*/ 119641 h 521294"/>
                <a:gd name="connsiteX83" fmla="*/ 3247402 w 7093010"/>
                <a:gd name="connsiteY83" fmla="*/ 76912 h 521294"/>
                <a:gd name="connsiteX84" fmla="*/ 3273040 w 7093010"/>
                <a:gd name="connsiteY84" fmla="*/ 68367 h 521294"/>
                <a:gd name="connsiteX85" fmla="*/ 3307223 w 7093010"/>
                <a:gd name="connsiteY85" fmla="*/ 128187 h 521294"/>
                <a:gd name="connsiteX86" fmla="*/ 3341406 w 7093010"/>
                <a:gd name="connsiteY86" fmla="*/ 170916 h 521294"/>
                <a:gd name="connsiteX87" fmla="*/ 3367043 w 7093010"/>
                <a:gd name="connsiteY87" fmla="*/ 162370 h 521294"/>
                <a:gd name="connsiteX88" fmla="*/ 3401227 w 7093010"/>
                <a:gd name="connsiteY88" fmla="*/ 119641 h 521294"/>
                <a:gd name="connsiteX89" fmla="*/ 3418318 w 7093010"/>
                <a:gd name="connsiteY89" fmla="*/ 153824 h 521294"/>
                <a:gd name="connsiteX90" fmla="*/ 3452501 w 7093010"/>
                <a:gd name="connsiteY90" fmla="*/ 213645 h 521294"/>
                <a:gd name="connsiteX91" fmla="*/ 3461047 w 7093010"/>
                <a:gd name="connsiteY91" fmla="*/ 264920 h 521294"/>
                <a:gd name="connsiteX92" fmla="*/ 3486685 w 7093010"/>
                <a:gd name="connsiteY92" fmla="*/ 282011 h 521294"/>
                <a:gd name="connsiteX93" fmla="*/ 3597780 w 7093010"/>
                <a:gd name="connsiteY93" fmla="*/ 119641 h 521294"/>
                <a:gd name="connsiteX94" fmla="*/ 3717421 w 7093010"/>
                <a:gd name="connsiteY94" fmla="*/ 25638 h 521294"/>
                <a:gd name="connsiteX95" fmla="*/ 3734513 w 7093010"/>
                <a:gd name="connsiteY95" fmla="*/ 59821 h 521294"/>
                <a:gd name="connsiteX96" fmla="*/ 3743058 w 7093010"/>
                <a:gd name="connsiteY96" fmla="*/ 102550 h 521294"/>
                <a:gd name="connsiteX97" fmla="*/ 3768696 w 7093010"/>
                <a:gd name="connsiteY97" fmla="*/ 94004 h 521294"/>
                <a:gd name="connsiteX98" fmla="*/ 3794333 w 7093010"/>
                <a:gd name="connsiteY98" fmla="*/ 68367 h 521294"/>
                <a:gd name="connsiteX99" fmla="*/ 3811425 w 7093010"/>
                <a:gd name="connsiteY99" fmla="*/ 136733 h 521294"/>
                <a:gd name="connsiteX100" fmla="*/ 3837062 w 7093010"/>
                <a:gd name="connsiteY100" fmla="*/ 264920 h 521294"/>
                <a:gd name="connsiteX101" fmla="*/ 3862700 w 7093010"/>
                <a:gd name="connsiteY101" fmla="*/ 273466 h 521294"/>
                <a:gd name="connsiteX102" fmla="*/ 3931066 w 7093010"/>
                <a:gd name="connsiteY102" fmla="*/ 205099 h 521294"/>
                <a:gd name="connsiteX103" fmla="*/ 3982341 w 7093010"/>
                <a:gd name="connsiteY103" fmla="*/ 145279 h 521294"/>
                <a:gd name="connsiteX104" fmla="*/ 4093436 w 7093010"/>
                <a:gd name="connsiteY104" fmla="*/ 8546 h 521294"/>
                <a:gd name="connsiteX105" fmla="*/ 4119073 w 7093010"/>
                <a:gd name="connsiteY105" fmla="*/ 76912 h 521294"/>
                <a:gd name="connsiteX106" fmla="*/ 4144711 w 7093010"/>
                <a:gd name="connsiteY106" fmla="*/ 170916 h 521294"/>
                <a:gd name="connsiteX107" fmla="*/ 4178894 w 7093010"/>
                <a:gd name="connsiteY107" fmla="*/ 179462 h 521294"/>
                <a:gd name="connsiteX108" fmla="*/ 4204531 w 7093010"/>
                <a:gd name="connsiteY108" fmla="*/ 162370 h 521294"/>
                <a:gd name="connsiteX109" fmla="*/ 4230169 w 7093010"/>
                <a:gd name="connsiteY109" fmla="*/ 128187 h 521294"/>
                <a:gd name="connsiteX110" fmla="*/ 4255806 w 7093010"/>
                <a:gd name="connsiteY110" fmla="*/ 136733 h 521294"/>
                <a:gd name="connsiteX111" fmla="*/ 4281443 w 7093010"/>
                <a:gd name="connsiteY111" fmla="*/ 239282 h 521294"/>
                <a:gd name="connsiteX112" fmla="*/ 4307081 w 7093010"/>
                <a:gd name="connsiteY112" fmla="*/ 213645 h 521294"/>
                <a:gd name="connsiteX113" fmla="*/ 4349810 w 7093010"/>
                <a:gd name="connsiteY113" fmla="*/ 153824 h 521294"/>
                <a:gd name="connsiteX114" fmla="*/ 4366901 w 7093010"/>
                <a:gd name="connsiteY114" fmla="*/ 179462 h 521294"/>
                <a:gd name="connsiteX115" fmla="*/ 4392539 w 7093010"/>
                <a:gd name="connsiteY115" fmla="*/ 247828 h 521294"/>
                <a:gd name="connsiteX116" fmla="*/ 4426722 w 7093010"/>
                <a:gd name="connsiteY116" fmla="*/ 239282 h 521294"/>
                <a:gd name="connsiteX117" fmla="*/ 4495088 w 7093010"/>
                <a:gd name="connsiteY117" fmla="*/ 136733 h 521294"/>
                <a:gd name="connsiteX118" fmla="*/ 4520726 w 7093010"/>
                <a:gd name="connsiteY118" fmla="*/ 179462 h 521294"/>
                <a:gd name="connsiteX119" fmla="*/ 4580546 w 7093010"/>
                <a:gd name="connsiteY119" fmla="*/ 299103 h 521294"/>
                <a:gd name="connsiteX120" fmla="*/ 4606184 w 7093010"/>
                <a:gd name="connsiteY120" fmla="*/ 316195 h 521294"/>
                <a:gd name="connsiteX121" fmla="*/ 4640367 w 7093010"/>
                <a:gd name="connsiteY121" fmla="*/ 290557 h 521294"/>
                <a:gd name="connsiteX122" fmla="*/ 4708733 w 7093010"/>
                <a:gd name="connsiteY122" fmla="*/ 196553 h 521294"/>
                <a:gd name="connsiteX123" fmla="*/ 4751462 w 7093010"/>
                <a:gd name="connsiteY123" fmla="*/ 205099 h 521294"/>
                <a:gd name="connsiteX124" fmla="*/ 4777100 w 7093010"/>
                <a:gd name="connsiteY124" fmla="*/ 222191 h 521294"/>
                <a:gd name="connsiteX125" fmla="*/ 4862557 w 7093010"/>
                <a:gd name="connsiteY125" fmla="*/ 119641 h 521294"/>
                <a:gd name="connsiteX126" fmla="*/ 4871103 w 7093010"/>
                <a:gd name="connsiteY126" fmla="*/ 153824 h 521294"/>
                <a:gd name="connsiteX127" fmla="*/ 4888195 w 7093010"/>
                <a:gd name="connsiteY127" fmla="*/ 247828 h 521294"/>
                <a:gd name="connsiteX128" fmla="*/ 4913832 w 7093010"/>
                <a:gd name="connsiteY128" fmla="*/ 282011 h 521294"/>
                <a:gd name="connsiteX129" fmla="*/ 4965107 w 7093010"/>
                <a:gd name="connsiteY129" fmla="*/ 350378 h 521294"/>
                <a:gd name="connsiteX130" fmla="*/ 5076202 w 7093010"/>
                <a:gd name="connsiteY130" fmla="*/ 264920 h 521294"/>
                <a:gd name="connsiteX131" fmla="*/ 5101840 w 7093010"/>
                <a:gd name="connsiteY131" fmla="*/ 179462 h 521294"/>
                <a:gd name="connsiteX132" fmla="*/ 5118931 w 7093010"/>
                <a:gd name="connsiteY132" fmla="*/ 153824 h 521294"/>
                <a:gd name="connsiteX133" fmla="*/ 5136023 w 7093010"/>
                <a:gd name="connsiteY133" fmla="*/ 188008 h 521294"/>
                <a:gd name="connsiteX134" fmla="*/ 5204389 w 7093010"/>
                <a:gd name="connsiteY134" fmla="*/ 136733 h 521294"/>
                <a:gd name="connsiteX135" fmla="*/ 5238572 w 7093010"/>
                <a:gd name="connsiteY135" fmla="*/ 213645 h 521294"/>
                <a:gd name="connsiteX136" fmla="*/ 5272756 w 7093010"/>
                <a:gd name="connsiteY136" fmla="*/ 264920 h 521294"/>
                <a:gd name="connsiteX137" fmla="*/ 5306939 w 7093010"/>
                <a:gd name="connsiteY137" fmla="*/ 230737 h 521294"/>
                <a:gd name="connsiteX138" fmla="*/ 5315485 w 7093010"/>
                <a:gd name="connsiteY138" fmla="*/ 205099 h 521294"/>
                <a:gd name="connsiteX139" fmla="*/ 5324030 w 7093010"/>
                <a:gd name="connsiteY139" fmla="*/ 230737 h 521294"/>
                <a:gd name="connsiteX140" fmla="*/ 5332576 w 7093010"/>
                <a:gd name="connsiteY140" fmla="*/ 273466 h 521294"/>
                <a:gd name="connsiteX141" fmla="*/ 5383851 w 7093010"/>
                <a:gd name="connsiteY141" fmla="*/ 196553 h 521294"/>
                <a:gd name="connsiteX142" fmla="*/ 5452217 w 7093010"/>
                <a:gd name="connsiteY142" fmla="*/ 153824 h 521294"/>
                <a:gd name="connsiteX143" fmla="*/ 5520584 w 7093010"/>
                <a:gd name="connsiteY143" fmla="*/ 145279 h 521294"/>
                <a:gd name="connsiteX144" fmla="*/ 5537675 w 7093010"/>
                <a:gd name="connsiteY144" fmla="*/ 222191 h 521294"/>
                <a:gd name="connsiteX145" fmla="*/ 5546221 w 7093010"/>
                <a:gd name="connsiteY145" fmla="*/ 324740 h 521294"/>
                <a:gd name="connsiteX146" fmla="*/ 5580404 w 7093010"/>
                <a:gd name="connsiteY146" fmla="*/ 264920 h 521294"/>
                <a:gd name="connsiteX147" fmla="*/ 5640225 w 7093010"/>
                <a:gd name="connsiteY147" fmla="*/ 153824 h 521294"/>
                <a:gd name="connsiteX148" fmla="*/ 5674408 w 7093010"/>
                <a:gd name="connsiteY148" fmla="*/ 128187 h 521294"/>
                <a:gd name="connsiteX149" fmla="*/ 5700045 w 7093010"/>
                <a:gd name="connsiteY149" fmla="*/ 111096 h 521294"/>
                <a:gd name="connsiteX150" fmla="*/ 5725683 w 7093010"/>
                <a:gd name="connsiteY150" fmla="*/ 102550 h 521294"/>
                <a:gd name="connsiteX151" fmla="*/ 5759866 w 7093010"/>
                <a:gd name="connsiteY151" fmla="*/ 222191 h 521294"/>
                <a:gd name="connsiteX152" fmla="*/ 5776957 w 7093010"/>
                <a:gd name="connsiteY152" fmla="*/ 273466 h 521294"/>
                <a:gd name="connsiteX153" fmla="*/ 5802595 w 7093010"/>
                <a:gd name="connsiteY153" fmla="*/ 350378 h 521294"/>
                <a:gd name="connsiteX154" fmla="*/ 5862415 w 7093010"/>
                <a:gd name="connsiteY154" fmla="*/ 239282 h 521294"/>
                <a:gd name="connsiteX155" fmla="*/ 5905144 w 7093010"/>
                <a:gd name="connsiteY155" fmla="*/ 179462 h 521294"/>
                <a:gd name="connsiteX156" fmla="*/ 5930782 w 7093010"/>
                <a:gd name="connsiteY156" fmla="*/ 136733 h 521294"/>
                <a:gd name="connsiteX157" fmla="*/ 5956419 w 7093010"/>
                <a:gd name="connsiteY157" fmla="*/ 170916 h 521294"/>
                <a:gd name="connsiteX158" fmla="*/ 5973511 w 7093010"/>
                <a:gd name="connsiteY158" fmla="*/ 222191 h 521294"/>
                <a:gd name="connsiteX159" fmla="*/ 5999148 w 7093010"/>
                <a:gd name="connsiteY159" fmla="*/ 282011 h 521294"/>
                <a:gd name="connsiteX160" fmla="*/ 6033331 w 7093010"/>
                <a:gd name="connsiteY160" fmla="*/ 273466 h 521294"/>
                <a:gd name="connsiteX161" fmla="*/ 6084606 w 7093010"/>
                <a:gd name="connsiteY161" fmla="*/ 213645 h 521294"/>
                <a:gd name="connsiteX162" fmla="*/ 6118789 w 7093010"/>
                <a:gd name="connsiteY162" fmla="*/ 188008 h 521294"/>
                <a:gd name="connsiteX163" fmla="*/ 6135881 w 7093010"/>
                <a:gd name="connsiteY163" fmla="*/ 145279 h 521294"/>
                <a:gd name="connsiteX164" fmla="*/ 6170064 w 7093010"/>
                <a:gd name="connsiteY164" fmla="*/ 136733 h 521294"/>
                <a:gd name="connsiteX165" fmla="*/ 6195701 w 7093010"/>
                <a:gd name="connsiteY165" fmla="*/ 119641 h 521294"/>
                <a:gd name="connsiteX166" fmla="*/ 6221339 w 7093010"/>
                <a:gd name="connsiteY166" fmla="*/ 162370 h 521294"/>
                <a:gd name="connsiteX167" fmla="*/ 6255522 w 7093010"/>
                <a:gd name="connsiteY167" fmla="*/ 358924 h 521294"/>
                <a:gd name="connsiteX168" fmla="*/ 6281159 w 7093010"/>
                <a:gd name="connsiteY168" fmla="*/ 495656 h 521294"/>
                <a:gd name="connsiteX169" fmla="*/ 6306797 w 7093010"/>
                <a:gd name="connsiteY169" fmla="*/ 521294 h 521294"/>
                <a:gd name="connsiteX170" fmla="*/ 6349526 w 7093010"/>
                <a:gd name="connsiteY170" fmla="*/ 461473 h 521294"/>
                <a:gd name="connsiteX171" fmla="*/ 6366617 w 7093010"/>
                <a:gd name="connsiteY171" fmla="*/ 410198 h 521294"/>
                <a:gd name="connsiteX172" fmla="*/ 6426438 w 7093010"/>
                <a:gd name="connsiteY172" fmla="*/ 290557 h 521294"/>
                <a:gd name="connsiteX173" fmla="*/ 6434984 w 7093010"/>
                <a:gd name="connsiteY173" fmla="*/ 256374 h 521294"/>
                <a:gd name="connsiteX174" fmla="*/ 6452075 w 7093010"/>
                <a:gd name="connsiteY174" fmla="*/ 230737 h 521294"/>
                <a:gd name="connsiteX175" fmla="*/ 6469167 w 7093010"/>
                <a:gd name="connsiteY175" fmla="*/ 196553 h 521294"/>
                <a:gd name="connsiteX176" fmla="*/ 6511896 w 7093010"/>
                <a:gd name="connsiteY176" fmla="*/ 350378 h 521294"/>
                <a:gd name="connsiteX177" fmla="*/ 6528987 w 7093010"/>
                <a:gd name="connsiteY177" fmla="*/ 324740 h 521294"/>
                <a:gd name="connsiteX178" fmla="*/ 6588808 w 7093010"/>
                <a:gd name="connsiteY178" fmla="*/ 247828 h 521294"/>
                <a:gd name="connsiteX179" fmla="*/ 6631537 w 7093010"/>
                <a:gd name="connsiteY179" fmla="*/ 196553 h 521294"/>
                <a:gd name="connsiteX180" fmla="*/ 6674266 w 7093010"/>
                <a:gd name="connsiteY180" fmla="*/ 247828 h 521294"/>
                <a:gd name="connsiteX181" fmla="*/ 6708449 w 7093010"/>
                <a:gd name="connsiteY181" fmla="*/ 239282 h 521294"/>
                <a:gd name="connsiteX182" fmla="*/ 6734086 w 7093010"/>
                <a:gd name="connsiteY182" fmla="*/ 179462 h 521294"/>
                <a:gd name="connsiteX183" fmla="*/ 6742632 w 7093010"/>
                <a:gd name="connsiteY183" fmla="*/ 153824 h 521294"/>
                <a:gd name="connsiteX184" fmla="*/ 6768270 w 7093010"/>
                <a:gd name="connsiteY184" fmla="*/ 136733 h 521294"/>
                <a:gd name="connsiteX185" fmla="*/ 6810999 w 7093010"/>
                <a:gd name="connsiteY185" fmla="*/ 111096 h 521294"/>
                <a:gd name="connsiteX186" fmla="*/ 6836636 w 7093010"/>
                <a:gd name="connsiteY186" fmla="*/ 94004 h 521294"/>
                <a:gd name="connsiteX187" fmla="*/ 6862273 w 7093010"/>
                <a:gd name="connsiteY187" fmla="*/ 102550 h 521294"/>
                <a:gd name="connsiteX188" fmla="*/ 6887911 w 7093010"/>
                <a:gd name="connsiteY188" fmla="*/ 119641 h 521294"/>
                <a:gd name="connsiteX189" fmla="*/ 6939185 w 7093010"/>
                <a:gd name="connsiteY189" fmla="*/ 59821 h 521294"/>
                <a:gd name="connsiteX190" fmla="*/ 6999006 w 7093010"/>
                <a:gd name="connsiteY190" fmla="*/ 162370 h 521294"/>
                <a:gd name="connsiteX191" fmla="*/ 7007552 w 7093010"/>
                <a:gd name="connsiteY191" fmla="*/ 205099 h 521294"/>
                <a:gd name="connsiteX192" fmla="*/ 7033189 w 7093010"/>
                <a:gd name="connsiteY192" fmla="*/ 213645 h 521294"/>
                <a:gd name="connsiteX193" fmla="*/ 7067372 w 7093010"/>
                <a:gd name="connsiteY193" fmla="*/ 162370 h 521294"/>
                <a:gd name="connsiteX194" fmla="*/ 7093010 w 7093010"/>
                <a:gd name="connsiteY194" fmla="*/ 128187 h 521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</a:cxnLst>
              <a:rect l="l" t="t" r="r" b="b"/>
              <a:pathLst>
                <a:path w="7093010" h="521294">
                  <a:moveTo>
                    <a:pt x="0" y="145279"/>
                  </a:moveTo>
                  <a:cubicBezTo>
                    <a:pt x="14243" y="142430"/>
                    <a:pt x="28382" y="138998"/>
                    <a:pt x="42729" y="136733"/>
                  </a:cubicBezTo>
                  <a:cubicBezTo>
                    <a:pt x="82522" y="130450"/>
                    <a:pt x="123156" y="128868"/>
                    <a:pt x="162371" y="119641"/>
                  </a:cubicBezTo>
                  <a:cubicBezTo>
                    <a:pt x="172369" y="117289"/>
                    <a:pt x="178822" y="107143"/>
                    <a:pt x="188008" y="102550"/>
                  </a:cubicBezTo>
                  <a:cubicBezTo>
                    <a:pt x="196065" y="98522"/>
                    <a:pt x="205099" y="96853"/>
                    <a:pt x="213645" y="94004"/>
                  </a:cubicBezTo>
                  <a:cubicBezTo>
                    <a:pt x="243697" y="99013"/>
                    <a:pt x="274263" y="98941"/>
                    <a:pt x="299103" y="119641"/>
                  </a:cubicBezTo>
                  <a:cubicBezTo>
                    <a:pt x="306993" y="126216"/>
                    <a:pt x="310498" y="136733"/>
                    <a:pt x="316195" y="145279"/>
                  </a:cubicBezTo>
                  <a:cubicBezTo>
                    <a:pt x="330438" y="142430"/>
                    <a:pt x="345324" y="141833"/>
                    <a:pt x="358924" y="136733"/>
                  </a:cubicBezTo>
                  <a:cubicBezTo>
                    <a:pt x="368541" y="133127"/>
                    <a:pt x="375644" y="124737"/>
                    <a:pt x="384561" y="119641"/>
                  </a:cubicBezTo>
                  <a:cubicBezTo>
                    <a:pt x="395622" y="113321"/>
                    <a:pt x="407608" y="108737"/>
                    <a:pt x="418744" y="102550"/>
                  </a:cubicBezTo>
                  <a:cubicBezTo>
                    <a:pt x="433264" y="94483"/>
                    <a:pt x="446051" y="83081"/>
                    <a:pt x="461473" y="76912"/>
                  </a:cubicBezTo>
                  <a:cubicBezTo>
                    <a:pt x="474959" y="71518"/>
                    <a:pt x="489959" y="71215"/>
                    <a:pt x="504202" y="68367"/>
                  </a:cubicBezTo>
                  <a:cubicBezTo>
                    <a:pt x="512748" y="62670"/>
                    <a:pt x="519672" y="49823"/>
                    <a:pt x="529840" y="51275"/>
                  </a:cubicBezTo>
                  <a:cubicBezTo>
                    <a:pt x="580191" y="58467"/>
                    <a:pt x="553851" y="78484"/>
                    <a:pt x="572569" y="102550"/>
                  </a:cubicBezTo>
                  <a:cubicBezTo>
                    <a:pt x="587408" y="121629"/>
                    <a:pt x="623843" y="153824"/>
                    <a:pt x="623843" y="153824"/>
                  </a:cubicBezTo>
                  <a:cubicBezTo>
                    <a:pt x="627739" y="165512"/>
                    <a:pt x="645223" y="219636"/>
                    <a:pt x="649481" y="222191"/>
                  </a:cubicBezTo>
                  <a:cubicBezTo>
                    <a:pt x="658288" y="227475"/>
                    <a:pt x="667389" y="211862"/>
                    <a:pt x="675118" y="205099"/>
                  </a:cubicBezTo>
                  <a:cubicBezTo>
                    <a:pt x="690277" y="191835"/>
                    <a:pt x="702688" y="175634"/>
                    <a:pt x="717847" y="162370"/>
                  </a:cubicBezTo>
                  <a:cubicBezTo>
                    <a:pt x="725577" y="155607"/>
                    <a:pt x="735595" y="151854"/>
                    <a:pt x="743485" y="145279"/>
                  </a:cubicBezTo>
                  <a:cubicBezTo>
                    <a:pt x="752769" y="137542"/>
                    <a:pt x="759288" y="126666"/>
                    <a:pt x="769122" y="119641"/>
                  </a:cubicBezTo>
                  <a:cubicBezTo>
                    <a:pt x="779488" y="112236"/>
                    <a:pt x="791911" y="108247"/>
                    <a:pt x="803305" y="102550"/>
                  </a:cubicBezTo>
                  <a:cubicBezTo>
                    <a:pt x="803348" y="102636"/>
                    <a:pt x="830779" y="161028"/>
                    <a:pt x="837488" y="162370"/>
                  </a:cubicBezTo>
                  <a:cubicBezTo>
                    <a:pt x="847559" y="164384"/>
                    <a:pt x="855449" y="152103"/>
                    <a:pt x="863126" y="145279"/>
                  </a:cubicBezTo>
                  <a:cubicBezTo>
                    <a:pt x="909131" y="104386"/>
                    <a:pt x="908937" y="101288"/>
                    <a:pt x="940038" y="59821"/>
                  </a:cubicBezTo>
                  <a:cubicBezTo>
                    <a:pt x="985616" y="128190"/>
                    <a:pt x="916485" y="42938"/>
                    <a:pt x="999858" y="51275"/>
                  </a:cubicBezTo>
                  <a:cubicBezTo>
                    <a:pt x="1019994" y="53289"/>
                    <a:pt x="1046637" y="101708"/>
                    <a:pt x="1059679" y="119641"/>
                  </a:cubicBezTo>
                  <a:cubicBezTo>
                    <a:pt x="1076434" y="142679"/>
                    <a:pt x="1110954" y="188008"/>
                    <a:pt x="1110954" y="188008"/>
                  </a:cubicBezTo>
                  <a:cubicBezTo>
                    <a:pt x="1190394" y="172120"/>
                    <a:pt x="1139981" y="189008"/>
                    <a:pt x="1239141" y="111096"/>
                  </a:cubicBezTo>
                  <a:cubicBezTo>
                    <a:pt x="1250341" y="102296"/>
                    <a:pt x="1273324" y="85458"/>
                    <a:pt x="1273324" y="85458"/>
                  </a:cubicBezTo>
                  <a:cubicBezTo>
                    <a:pt x="1290416" y="91155"/>
                    <a:pt x="1310378" y="91489"/>
                    <a:pt x="1324599" y="102550"/>
                  </a:cubicBezTo>
                  <a:cubicBezTo>
                    <a:pt x="1337710" y="112748"/>
                    <a:pt x="1341433" y="131194"/>
                    <a:pt x="1350236" y="145279"/>
                  </a:cubicBezTo>
                  <a:cubicBezTo>
                    <a:pt x="1355680" y="153989"/>
                    <a:pt x="1359308" y="164500"/>
                    <a:pt x="1367328" y="170916"/>
                  </a:cubicBezTo>
                  <a:cubicBezTo>
                    <a:pt x="1374362" y="176543"/>
                    <a:pt x="1384419" y="176613"/>
                    <a:pt x="1392965" y="179462"/>
                  </a:cubicBezTo>
                  <a:cubicBezTo>
                    <a:pt x="1401511" y="176613"/>
                    <a:pt x="1411492" y="176446"/>
                    <a:pt x="1418602" y="170916"/>
                  </a:cubicBezTo>
                  <a:cubicBezTo>
                    <a:pt x="1437682" y="156076"/>
                    <a:pt x="1469877" y="119641"/>
                    <a:pt x="1469877" y="119641"/>
                  </a:cubicBezTo>
                  <a:cubicBezTo>
                    <a:pt x="1472726" y="111095"/>
                    <a:pt x="1472053" y="100374"/>
                    <a:pt x="1478423" y="94004"/>
                  </a:cubicBezTo>
                  <a:cubicBezTo>
                    <a:pt x="1484793" y="87634"/>
                    <a:pt x="1495267" y="87412"/>
                    <a:pt x="1504060" y="85458"/>
                  </a:cubicBezTo>
                  <a:cubicBezTo>
                    <a:pt x="1520975" y="81699"/>
                    <a:pt x="1538243" y="79761"/>
                    <a:pt x="1555335" y="76912"/>
                  </a:cubicBezTo>
                  <a:cubicBezTo>
                    <a:pt x="1566729" y="94004"/>
                    <a:pt x="1578949" y="110573"/>
                    <a:pt x="1589518" y="128187"/>
                  </a:cubicBezTo>
                  <a:cubicBezTo>
                    <a:pt x="1601606" y="148333"/>
                    <a:pt x="1616266" y="189118"/>
                    <a:pt x="1632247" y="205099"/>
                  </a:cubicBezTo>
                  <a:cubicBezTo>
                    <a:pt x="1638617" y="211469"/>
                    <a:pt x="1649339" y="210796"/>
                    <a:pt x="1657885" y="213645"/>
                  </a:cubicBezTo>
                  <a:cubicBezTo>
                    <a:pt x="1660733" y="205099"/>
                    <a:pt x="1660061" y="194378"/>
                    <a:pt x="1666430" y="188008"/>
                  </a:cubicBezTo>
                  <a:cubicBezTo>
                    <a:pt x="1691070" y="163367"/>
                    <a:pt x="1712957" y="161421"/>
                    <a:pt x="1743342" y="153824"/>
                  </a:cubicBezTo>
                  <a:cubicBezTo>
                    <a:pt x="1754052" y="169889"/>
                    <a:pt x="1767928" y="199889"/>
                    <a:pt x="1794617" y="196553"/>
                  </a:cubicBezTo>
                  <a:cubicBezTo>
                    <a:pt x="1808750" y="194786"/>
                    <a:pt x="1816587" y="178244"/>
                    <a:pt x="1828800" y="170916"/>
                  </a:cubicBezTo>
                  <a:cubicBezTo>
                    <a:pt x="1861295" y="151419"/>
                    <a:pt x="1888424" y="141939"/>
                    <a:pt x="1922804" y="128187"/>
                  </a:cubicBezTo>
                  <a:cubicBezTo>
                    <a:pt x="1931350" y="131036"/>
                    <a:pt x="1940947" y="131736"/>
                    <a:pt x="1948442" y="136733"/>
                  </a:cubicBezTo>
                  <a:cubicBezTo>
                    <a:pt x="1958498" y="143437"/>
                    <a:pt x="1966828" y="152702"/>
                    <a:pt x="1974079" y="162370"/>
                  </a:cubicBezTo>
                  <a:cubicBezTo>
                    <a:pt x="1998296" y="194660"/>
                    <a:pt x="1997747" y="199192"/>
                    <a:pt x="2008262" y="230737"/>
                  </a:cubicBezTo>
                  <a:cubicBezTo>
                    <a:pt x="2025354" y="222191"/>
                    <a:pt x="2044857" y="217332"/>
                    <a:pt x="2059537" y="205099"/>
                  </a:cubicBezTo>
                  <a:cubicBezTo>
                    <a:pt x="2079713" y="188286"/>
                    <a:pt x="2095281" y="166457"/>
                    <a:pt x="2110812" y="145279"/>
                  </a:cubicBezTo>
                  <a:cubicBezTo>
                    <a:pt x="2147980" y="94596"/>
                    <a:pt x="2154834" y="63708"/>
                    <a:pt x="2196270" y="17092"/>
                  </a:cubicBezTo>
                  <a:cubicBezTo>
                    <a:pt x="2203093" y="9416"/>
                    <a:pt x="2213361" y="5697"/>
                    <a:pt x="2221907" y="0"/>
                  </a:cubicBezTo>
                  <a:cubicBezTo>
                    <a:pt x="2251258" y="88055"/>
                    <a:pt x="2240990" y="50695"/>
                    <a:pt x="2256090" y="111096"/>
                  </a:cubicBezTo>
                  <a:cubicBezTo>
                    <a:pt x="2273087" y="99765"/>
                    <a:pt x="2286136" y="81321"/>
                    <a:pt x="2307365" y="102550"/>
                  </a:cubicBezTo>
                  <a:cubicBezTo>
                    <a:pt x="2313735" y="108920"/>
                    <a:pt x="2313062" y="119641"/>
                    <a:pt x="2315911" y="128187"/>
                  </a:cubicBezTo>
                  <a:cubicBezTo>
                    <a:pt x="2330154" y="119641"/>
                    <a:pt x="2343784" y="109978"/>
                    <a:pt x="2358640" y="102550"/>
                  </a:cubicBezTo>
                  <a:cubicBezTo>
                    <a:pt x="2366697" y="98522"/>
                    <a:pt x="2377907" y="87634"/>
                    <a:pt x="2384277" y="94004"/>
                  </a:cubicBezTo>
                  <a:cubicBezTo>
                    <a:pt x="2394548" y="104275"/>
                    <a:pt x="2384766" y="124647"/>
                    <a:pt x="2392823" y="136733"/>
                  </a:cubicBezTo>
                  <a:cubicBezTo>
                    <a:pt x="2402941" y="151909"/>
                    <a:pt x="2421309" y="159522"/>
                    <a:pt x="2435552" y="170916"/>
                  </a:cubicBezTo>
                  <a:cubicBezTo>
                    <a:pt x="2438401" y="182310"/>
                    <a:pt x="2439471" y="194304"/>
                    <a:pt x="2444098" y="205099"/>
                  </a:cubicBezTo>
                  <a:cubicBezTo>
                    <a:pt x="2448144" y="214539"/>
                    <a:pt x="2451749" y="234783"/>
                    <a:pt x="2461189" y="230737"/>
                  </a:cubicBezTo>
                  <a:cubicBezTo>
                    <a:pt x="2481638" y="221973"/>
                    <a:pt x="2489675" y="196554"/>
                    <a:pt x="2503918" y="179462"/>
                  </a:cubicBezTo>
                  <a:cubicBezTo>
                    <a:pt x="2507148" y="166541"/>
                    <a:pt x="2512645" y="119641"/>
                    <a:pt x="2538101" y="119641"/>
                  </a:cubicBezTo>
                  <a:cubicBezTo>
                    <a:pt x="2547109" y="119641"/>
                    <a:pt x="2542618" y="137222"/>
                    <a:pt x="2546647" y="145279"/>
                  </a:cubicBezTo>
                  <a:cubicBezTo>
                    <a:pt x="2554075" y="160136"/>
                    <a:pt x="2563739" y="173765"/>
                    <a:pt x="2572285" y="188008"/>
                  </a:cubicBezTo>
                  <a:cubicBezTo>
                    <a:pt x="2580831" y="185159"/>
                    <a:pt x="2590101" y="183931"/>
                    <a:pt x="2597922" y="179462"/>
                  </a:cubicBezTo>
                  <a:cubicBezTo>
                    <a:pt x="2610288" y="172395"/>
                    <a:pt x="2618410" y="149911"/>
                    <a:pt x="2632105" y="153824"/>
                  </a:cubicBezTo>
                  <a:cubicBezTo>
                    <a:pt x="2648076" y="158387"/>
                    <a:pt x="2645997" y="184808"/>
                    <a:pt x="2657742" y="196553"/>
                  </a:cubicBezTo>
                  <a:cubicBezTo>
                    <a:pt x="2664112" y="202923"/>
                    <a:pt x="2674834" y="202250"/>
                    <a:pt x="2683380" y="205099"/>
                  </a:cubicBezTo>
                  <a:cubicBezTo>
                    <a:pt x="2717563" y="170916"/>
                    <a:pt x="2744476" y="127422"/>
                    <a:pt x="2785929" y="102550"/>
                  </a:cubicBezTo>
                  <a:cubicBezTo>
                    <a:pt x="2814415" y="85458"/>
                    <a:pt x="2842027" y="66818"/>
                    <a:pt x="2871387" y="51275"/>
                  </a:cubicBezTo>
                  <a:cubicBezTo>
                    <a:pt x="2890560" y="41125"/>
                    <a:pt x="2911458" y="34615"/>
                    <a:pt x="2931208" y="25638"/>
                  </a:cubicBezTo>
                  <a:cubicBezTo>
                    <a:pt x="2942805" y="20366"/>
                    <a:pt x="2953997" y="14243"/>
                    <a:pt x="2965391" y="8546"/>
                  </a:cubicBezTo>
                  <a:cubicBezTo>
                    <a:pt x="2973937" y="11395"/>
                    <a:pt x="2986031" y="9597"/>
                    <a:pt x="2991028" y="17092"/>
                  </a:cubicBezTo>
                  <a:cubicBezTo>
                    <a:pt x="2999085" y="29178"/>
                    <a:pt x="2996051" y="45730"/>
                    <a:pt x="2999574" y="59821"/>
                  </a:cubicBezTo>
                  <a:cubicBezTo>
                    <a:pt x="3001759" y="68560"/>
                    <a:pt x="3001750" y="79088"/>
                    <a:pt x="3008120" y="85458"/>
                  </a:cubicBezTo>
                  <a:cubicBezTo>
                    <a:pt x="3014490" y="91828"/>
                    <a:pt x="3025211" y="91155"/>
                    <a:pt x="3033757" y="94004"/>
                  </a:cubicBezTo>
                  <a:cubicBezTo>
                    <a:pt x="3045152" y="105398"/>
                    <a:pt x="3057454" y="115952"/>
                    <a:pt x="3067941" y="128187"/>
                  </a:cubicBezTo>
                  <a:cubicBezTo>
                    <a:pt x="3074625" y="135985"/>
                    <a:pt x="3078348" y="146026"/>
                    <a:pt x="3085032" y="153824"/>
                  </a:cubicBezTo>
                  <a:cubicBezTo>
                    <a:pt x="3095519" y="166059"/>
                    <a:pt x="3107821" y="176613"/>
                    <a:pt x="3119215" y="188008"/>
                  </a:cubicBezTo>
                  <a:cubicBezTo>
                    <a:pt x="3128056" y="214531"/>
                    <a:pt x="3124984" y="233513"/>
                    <a:pt x="3161944" y="196553"/>
                  </a:cubicBezTo>
                  <a:cubicBezTo>
                    <a:pt x="3184910" y="173587"/>
                    <a:pt x="3205055" y="147492"/>
                    <a:pt x="3221765" y="119641"/>
                  </a:cubicBezTo>
                  <a:cubicBezTo>
                    <a:pt x="3230311" y="105398"/>
                    <a:pt x="3235657" y="88657"/>
                    <a:pt x="3247402" y="76912"/>
                  </a:cubicBezTo>
                  <a:cubicBezTo>
                    <a:pt x="3253772" y="70542"/>
                    <a:pt x="3264494" y="71215"/>
                    <a:pt x="3273040" y="68367"/>
                  </a:cubicBezTo>
                  <a:cubicBezTo>
                    <a:pt x="3292631" y="127145"/>
                    <a:pt x="3265835" y="55761"/>
                    <a:pt x="3307223" y="128187"/>
                  </a:cubicBezTo>
                  <a:cubicBezTo>
                    <a:pt x="3332626" y="172641"/>
                    <a:pt x="3292757" y="138482"/>
                    <a:pt x="3341406" y="170916"/>
                  </a:cubicBezTo>
                  <a:cubicBezTo>
                    <a:pt x="3349952" y="168067"/>
                    <a:pt x="3360204" y="168232"/>
                    <a:pt x="3367043" y="162370"/>
                  </a:cubicBezTo>
                  <a:cubicBezTo>
                    <a:pt x="3380892" y="150500"/>
                    <a:pt x="3383235" y="122640"/>
                    <a:pt x="3401227" y="119641"/>
                  </a:cubicBezTo>
                  <a:cubicBezTo>
                    <a:pt x="3413793" y="117547"/>
                    <a:pt x="3412218" y="142640"/>
                    <a:pt x="3418318" y="153824"/>
                  </a:cubicBezTo>
                  <a:cubicBezTo>
                    <a:pt x="3429315" y="173986"/>
                    <a:pt x="3441107" y="193705"/>
                    <a:pt x="3452501" y="213645"/>
                  </a:cubicBezTo>
                  <a:cubicBezTo>
                    <a:pt x="3455350" y="230737"/>
                    <a:pt x="3453298" y="249422"/>
                    <a:pt x="3461047" y="264920"/>
                  </a:cubicBezTo>
                  <a:cubicBezTo>
                    <a:pt x="3465640" y="274106"/>
                    <a:pt x="3478271" y="287901"/>
                    <a:pt x="3486685" y="282011"/>
                  </a:cubicBezTo>
                  <a:cubicBezTo>
                    <a:pt x="3534010" y="248883"/>
                    <a:pt x="3563436" y="161345"/>
                    <a:pt x="3597780" y="119641"/>
                  </a:cubicBezTo>
                  <a:cubicBezTo>
                    <a:pt x="3629670" y="80917"/>
                    <a:pt x="3676182" y="53131"/>
                    <a:pt x="3717421" y="25638"/>
                  </a:cubicBezTo>
                  <a:cubicBezTo>
                    <a:pt x="3723118" y="37032"/>
                    <a:pt x="3730485" y="47735"/>
                    <a:pt x="3734513" y="59821"/>
                  </a:cubicBezTo>
                  <a:cubicBezTo>
                    <a:pt x="3739106" y="73601"/>
                    <a:pt x="3732787" y="92279"/>
                    <a:pt x="3743058" y="102550"/>
                  </a:cubicBezTo>
                  <a:cubicBezTo>
                    <a:pt x="3749428" y="108920"/>
                    <a:pt x="3760150" y="96853"/>
                    <a:pt x="3768696" y="94004"/>
                  </a:cubicBezTo>
                  <a:cubicBezTo>
                    <a:pt x="3777242" y="85458"/>
                    <a:pt x="3785787" y="59821"/>
                    <a:pt x="3794333" y="68367"/>
                  </a:cubicBezTo>
                  <a:cubicBezTo>
                    <a:pt x="3810943" y="84977"/>
                    <a:pt x="3807343" y="113600"/>
                    <a:pt x="3811425" y="136733"/>
                  </a:cubicBezTo>
                  <a:cubicBezTo>
                    <a:pt x="3816634" y="166251"/>
                    <a:pt x="3815534" y="234781"/>
                    <a:pt x="3837062" y="264920"/>
                  </a:cubicBezTo>
                  <a:cubicBezTo>
                    <a:pt x="3842298" y="272250"/>
                    <a:pt x="3854154" y="270617"/>
                    <a:pt x="3862700" y="273466"/>
                  </a:cubicBezTo>
                  <a:cubicBezTo>
                    <a:pt x="3938748" y="258256"/>
                    <a:pt x="3881713" y="281869"/>
                    <a:pt x="3931066" y="205099"/>
                  </a:cubicBezTo>
                  <a:cubicBezTo>
                    <a:pt x="3945268" y="183007"/>
                    <a:pt x="3966425" y="166169"/>
                    <a:pt x="3982341" y="145279"/>
                  </a:cubicBezTo>
                  <a:cubicBezTo>
                    <a:pt x="4086157" y="9021"/>
                    <a:pt x="4024425" y="54555"/>
                    <a:pt x="4093436" y="8546"/>
                  </a:cubicBezTo>
                  <a:cubicBezTo>
                    <a:pt x="4101982" y="31335"/>
                    <a:pt x="4112387" y="53510"/>
                    <a:pt x="4119073" y="76912"/>
                  </a:cubicBezTo>
                  <a:cubicBezTo>
                    <a:pt x="4125264" y="98580"/>
                    <a:pt x="4125501" y="151706"/>
                    <a:pt x="4144711" y="170916"/>
                  </a:cubicBezTo>
                  <a:cubicBezTo>
                    <a:pt x="4153016" y="179221"/>
                    <a:pt x="4167500" y="176613"/>
                    <a:pt x="4178894" y="179462"/>
                  </a:cubicBezTo>
                  <a:cubicBezTo>
                    <a:pt x="4187440" y="173765"/>
                    <a:pt x="4197268" y="169633"/>
                    <a:pt x="4204531" y="162370"/>
                  </a:cubicBezTo>
                  <a:cubicBezTo>
                    <a:pt x="4214602" y="152299"/>
                    <a:pt x="4217430" y="134557"/>
                    <a:pt x="4230169" y="128187"/>
                  </a:cubicBezTo>
                  <a:cubicBezTo>
                    <a:pt x="4238226" y="124159"/>
                    <a:pt x="4247260" y="133884"/>
                    <a:pt x="4255806" y="136733"/>
                  </a:cubicBezTo>
                  <a:cubicBezTo>
                    <a:pt x="4256255" y="139876"/>
                    <a:pt x="4264690" y="232581"/>
                    <a:pt x="4281443" y="239282"/>
                  </a:cubicBezTo>
                  <a:cubicBezTo>
                    <a:pt x="4292664" y="243771"/>
                    <a:pt x="4298535" y="222191"/>
                    <a:pt x="4307081" y="213645"/>
                  </a:cubicBezTo>
                  <a:cubicBezTo>
                    <a:pt x="4311318" y="205171"/>
                    <a:pt x="4332487" y="153824"/>
                    <a:pt x="4349810" y="153824"/>
                  </a:cubicBezTo>
                  <a:cubicBezTo>
                    <a:pt x="4360081" y="153824"/>
                    <a:pt x="4361805" y="170544"/>
                    <a:pt x="4366901" y="179462"/>
                  </a:cubicBezTo>
                  <a:cubicBezTo>
                    <a:pt x="4386764" y="214222"/>
                    <a:pt x="4383192" y="210439"/>
                    <a:pt x="4392539" y="247828"/>
                  </a:cubicBezTo>
                  <a:cubicBezTo>
                    <a:pt x="4403933" y="244979"/>
                    <a:pt x="4417326" y="246329"/>
                    <a:pt x="4426722" y="239282"/>
                  </a:cubicBezTo>
                  <a:cubicBezTo>
                    <a:pt x="4450986" y="221083"/>
                    <a:pt x="4482408" y="158923"/>
                    <a:pt x="4495088" y="136733"/>
                  </a:cubicBezTo>
                  <a:cubicBezTo>
                    <a:pt x="4503634" y="150976"/>
                    <a:pt x="4513298" y="164605"/>
                    <a:pt x="4520726" y="179462"/>
                  </a:cubicBezTo>
                  <a:cubicBezTo>
                    <a:pt x="4533323" y="204655"/>
                    <a:pt x="4557249" y="271923"/>
                    <a:pt x="4580546" y="299103"/>
                  </a:cubicBezTo>
                  <a:cubicBezTo>
                    <a:pt x="4587230" y="306901"/>
                    <a:pt x="4597638" y="310498"/>
                    <a:pt x="4606184" y="316195"/>
                  </a:cubicBezTo>
                  <a:cubicBezTo>
                    <a:pt x="4617578" y="307649"/>
                    <a:pt x="4631098" y="301371"/>
                    <a:pt x="4640367" y="290557"/>
                  </a:cubicBezTo>
                  <a:cubicBezTo>
                    <a:pt x="4665582" y="261139"/>
                    <a:pt x="4708733" y="196553"/>
                    <a:pt x="4708733" y="196553"/>
                  </a:cubicBezTo>
                  <a:cubicBezTo>
                    <a:pt x="4723040" y="139327"/>
                    <a:pt x="4707866" y="161503"/>
                    <a:pt x="4751462" y="205099"/>
                  </a:cubicBezTo>
                  <a:cubicBezTo>
                    <a:pt x="4758725" y="212362"/>
                    <a:pt x="4768554" y="216494"/>
                    <a:pt x="4777100" y="222191"/>
                  </a:cubicBezTo>
                  <a:cubicBezTo>
                    <a:pt x="4844340" y="135739"/>
                    <a:pt x="4813954" y="168245"/>
                    <a:pt x="4862557" y="119641"/>
                  </a:cubicBezTo>
                  <a:cubicBezTo>
                    <a:pt x="4865406" y="131035"/>
                    <a:pt x="4868800" y="142307"/>
                    <a:pt x="4871103" y="153824"/>
                  </a:cubicBezTo>
                  <a:cubicBezTo>
                    <a:pt x="4877349" y="185054"/>
                    <a:pt x="4878124" y="217614"/>
                    <a:pt x="4888195" y="247828"/>
                  </a:cubicBezTo>
                  <a:cubicBezTo>
                    <a:pt x="4892699" y="261340"/>
                    <a:pt x="4907012" y="269507"/>
                    <a:pt x="4913832" y="282011"/>
                  </a:cubicBezTo>
                  <a:cubicBezTo>
                    <a:pt x="4952747" y="353354"/>
                    <a:pt x="4914850" y="333625"/>
                    <a:pt x="4965107" y="350378"/>
                  </a:cubicBezTo>
                  <a:cubicBezTo>
                    <a:pt x="5000827" y="328053"/>
                    <a:pt x="5051742" y="303356"/>
                    <a:pt x="5076202" y="264920"/>
                  </a:cubicBezTo>
                  <a:cubicBezTo>
                    <a:pt x="5101332" y="225430"/>
                    <a:pt x="5086106" y="216177"/>
                    <a:pt x="5101840" y="179462"/>
                  </a:cubicBezTo>
                  <a:cubicBezTo>
                    <a:pt x="5105886" y="170022"/>
                    <a:pt x="5113234" y="162370"/>
                    <a:pt x="5118931" y="153824"/>
                  </a:cubicBezTo>
                  <a:cubicBezTo>
                    <a:pt x="5124628" y="165219"/>
                    <a:pt x="5123382" y="186428"/>
                    <a:pt x="5136023" y="188008"/>
                  </a:cubicBezTo>
                  <a:cubicBezTo>
                    <a:pt x="5173230" y="192659"/>
                    <a:pt x="5189197" y="159522"/>
                    <a:pt x="5204389" y="136733"/>
                  </a:cubicBezTo>
                  <a:cubicBezTo>
                    <a:pt x="5229410" y="236812"/>
                    <a:pt x="5189291" y="90442"/>
                    <a:pt x="5238572" y="213645"/>
                  </a:cubicBezTo>
                  <a:cubicBezTo>
                    <a:pt x="5260783" y="269174"/>
                    <a:pt x="5225959" y="249321"/>
                    <a:pt x="5272756" y="264920"/>
                  </a:cubicBezTo>
                  <a:cubicBezTo>
                    <a:pt x="5284150" y="253526"/>
                    <a:pt x="5297573" y="243850"/>
                    <a:pt x="5306939" y="230737"/>
                  </a:cubicBezTo>
                  <a:cubicBezTo>
                    <a:pt x="5312175" y="223407"/>
                    <a:pt x="5306477" y="205099"/>
                    <a:pt x="5315485" y="205099"/>
                  </a:cubicBezTo>
                  <a:cubicBezTo>
                    <a:pt x="5324493" y="205099"/>
                    <a:pt x="5321845" y="221998"/>
                    <a:pt x="5324030" y="230737"/>
                  </a:cubicBezTo>
                  <a:cubicBezTo>
                    <a:pt x="5327553" y="244828"/>
                    <a:pt x="5329727" y="259223"/>
                    <a:pt x="5332576" y="273466"/>
                  </a:cubicBezTo>
                  <a:cubicBezTo>
                    <a:pt x="5415319" y="211407"/>
                    <a:pt x="5319062" y="293736"/>
                    <a:pt x="5383851" y="196553"/>
                  </a:cubicBezTo>
                  <a:cubicBezTo>
                    <a:pt x="5394944" y="179914"/>
                    <a:pt x="5435063" y="162401"/>
                    <a:pt x="5452217" y="153824"/>
                  </a:cubicBezTo>
                  <a:cubicBezTo>
                    <a:pt x="5496518" y="87373"/>
                    <a:pt x="5473568" y="86510"/>
                    <a:pt x="5520584" y="145279"/>
                  </a:cubicBezTo>
                  <a:cubicBezTo>
                    <a:pt x="5526281" y="170916"/>
                    <a:pt x="5533961" y="196192"/>
                    <a:pt x="5537675" y="222191"/>
                  </a:cubicBezTo>
                  <a:cubicBezTo>
                    <a:pt x="5542526" y="256148"/>
                    <a:pt x="5521966" y="300485"/>
                    <a:pt x="5546221" y="324740"/>
                  </a:cubicBezTo>
                  <a:cubicBezTo>
                    <a:pt x="5562460" y="340979"/>
                    <a:pt x="5569516" y="285141"/>
                    <a:pt x="5580404" y="264920"/>
                  </a:cubicBezTo>
                  <a:cubicBezTo>
                    <a:pt x="5664203" y="109294"/>
                    <a:pt x="5539005" y="330962"/>
                    <a:pt x="5640225" y="153824"/>
                  </a:cubicBezTo>
                  <a:cubicBezTo>
                    <a:pt x="5657899" y="65461"/>
                    <a:pt x="5631656" y="128187"/>
                    <a:pt x="5674408" y="128187"/>
                  </a:cubicBezTo>
                  <a:cubicBezTo>
                    <a:pt x="5684679" y="128187"/>
                    <a:pt x="5690859" y="115689"/>
                    <a:pt x="5700045" y="111096"/>
                  </a:cubicBezTo>
                  <a:cubicBezTo>
                    <a:pt x="5708102" y="107067"/>
                    <a:pt x="5717137" y="105399"/>
                    <a:pt x="5725683" y="102550"/>
                  </a:cubicBezTo>
                  <a:cubicBezTo>
                    <a:pt x="5775931" y="219795"/>
                    <a:pt x="5732768" y="104765"/>
                    <a:pt x="5759866" y="222191"/>
                  </a:cubicBezTo>
                  <a:cubicBezTo>
                    <a:pt x="5763917" y="239746"/>
                    <a:pt x="5772587" y="255988"/>
                    <a:pt x="5776957" y="273466"/>
                  </a:cubicBezTo>
                  <a:cubicBezTo>
                    <a:pt x="5795378" y="347151"/>
                    <a:pt x="5771039" y="303044"/>
                    <a:pt x="5802595" y="350378"/>
                  </a:cubicBezTo>
                  <a:cubicBezTo>
                    <a:pt x="5923338" y="169262"/>
                    <a:pt x="5749978" y="436047"/>
                    <a:pt x="5862415" y="239282"/>
                  </a:cubicBezTo>
                  <a:cubicBezTo>
                    <a:pt x="5874573" y="218006"/>
                    <a:pt x="5891551" y="199851"/>
                    <a:pt x="5905144" y="179462"/>
                  </a:cubicBezTo>
                  <a:cubicBezTo>
                    <a:pt x="5914358" y="165642"/>
                    <a:pt x="5922236" y="150976"/>
                    <a:pt x="5930782" y="136733"/>
                  </a:cubicBezTo>
                  <a:cubicBezTo>
                    <a:pt x="5939328" y="148127"/>
                    <a:pt x="5950049" y="158177"/>
                    <a:pt x="5956419" y="170916"/>
                  </a:cubicBezTo>
                  <a:cubicBezTo>
                    <a:pt x="5964476" y="187030"/>
                    <a:pt x="5967044" y="205376"/>
                    <a:pt x="5973511" y="222191"/>
                  </a:cubicBezTo>
                  <a:cubicBezTo>
                    <a:pt x="5981299" y="242439"/>
                    <a:pt x="5990602" y="262071"/>
                    <a:pt x="5999148" y="282011"/>
                  </a:cubicBezTo>
                  <a:cubicBezTo>
                    <a:pt x="6010542" y="279163"/>
                    <a:pt x="6023133" y="279293"/>
                    <a:pt x="6033331" y="273466"/>
                  </a:cubicBezTo>
                  <a:cubicBezTo>
                    <a:pt x="6055037" y="261062"/>
                    <a:pt x="6068219" y="230032"/>
                    <a:pt x="6084606" y="213645"/>
                  </a:cubicBezTo>
                  <a:cubicBezTo>
                    <a:pt x="6094677" y="203574"/>
                    <a:pt x="6107395" y="196554"/>
                    <a:pt x="6118789" y="188008"/>
                  </a:cubicBezTo>
                  <a:cubicBezTo>
                    <a:pt x="6124486" y="173765"/>
                    <a:pt x="6125034" y="156126"/>
                    <a:pt x="6135881" y="145279"/>
                  </a:cubicBezTo>
                  <a:cubicBezTo>
                    <a:pt x="6144186" y="136974"/>
                    <a:pt x="6159269" y="141360"/>
                    <a:pt x="6170064" y="136733"/>
                  </a:cubicBezTo>
                  <a:cubicBezTo>
                    <a:pt x="6179504" y="132687"/>
                    <a:pt x="6187155" y="125338"/>
                    <a:pt x="6195701" y="119641"/>
                  </a:cubicBezTo>
                  <a:cubicBezTo>
                    <a:pt x="6204247" y="133884"/>
                    <a:pt x="6215752" y="146728"/>
                    <a:pt x="6221339" y="162370"/>
                  </a:cubicBezTo>
                  <a:cubicBezTo>
                    <a:pt x="6235964" y="203320"/>
                    <a:pt x="6251904" y="328772"/>
                    <a:pt x="6255522" y="358924"/>
                  </a:cubicBezTo>
                  <a:cubicBezTo>
                    <a:pt x="6261501" y="408752"/>
                    <a:pt x="6254312" y="452700"/>
                    <a:pt x="6281159" y="495656"/>
                  </a:cubicBezTo>
                  <a:cubicBezTo>
                    <a:pt x="6287564" y="505905"/>
                    <a:pt x="6298251" y="512748"/>
                    <a:pt x="6306797" y="521294"/>
                  </a:cubicBezTo>
                  <a:cubicBezTo>
                    <a:pt x="6321040" y="501354"/>
                    <a:pt x="6337908" y="483049"/>
                    <a:pt x="6349526" y="461473"/>
                  </a:cubicBezTo>
                  <a:cubicBezTo>
                    <a:pt x="6358067" y="445610"/>
                    <a:pt x="6359926" y="426926"/>
                    <a:pt x="6366617" y="410198"/>
                  </a:cubicBezTo>
                  <a:cubicBezTo>
                    <a:pt x="6395267" y="338572"/>
                    <a:pt x="6393635" y="345227"/>
                    <a:pt x="6426438" y="290557"/>
                  </a:cubicBezTo>
                  <a:cubicBezTo>
                    <a:pt x="6429287" y="279163"/>
                    <a:pt x="6430357" y="267169"/>
                    <a:pt x="6434984" y="256374"/>
                  </a:cubicBezTo>
                  <a:cubicBezTo>
                    <a:pt x="6439030" y="246934"/>
                    <a:pt x="6446979" y="239654"/>
                    <a:pt x="6452075" y="230737"/>
                  </a:cubicBezTo>
                  <a:cubicBezTo>
                    <a:pt x="6458396" y="219676"/>
                    <a:pt x="6463470" y="207948"/>
                    <a:pt x="6469167" y="196553"/>
                  </a:cubicBezTo>
                  <a:cubicBezTo>
                    <a:pt x="6508829" y="315541"/>
                    <a:pt x="6497426" y="263561"/>
                    <a:pt x="6511896" y="350378"/>
                  </a:cubicBezTo>
                  <a:cubicBezTo>
                    <a:pt x="6517593" y="341832"/>
                    <a:pt x="6522825" y="332957"/>
                    <a:pt x="6528987" y="324740"/>
                  </a:cubicBezTo>
                  <a:cubicBezTo>
                    <a:pt x="6548474" y="298757"/>
                    <a:pt x="6570791" y="274852"/>
                    <a:pt x="6588808" y="247828"/>
                  </a:cubicBezTo>
                  <a:cubicBezTo>
                    <a:pt x="6612604" y="212135"/>
                    <a:pt x="6598638" y="229454"/>
                    <a:pt x="6631537" y="196553"/>
                  </a:cubicBezTo>
                  <a:cubicBezTo>
                    <a:pt x="6645780" y="213645"/>
                    <a:pt x="6654817" y="237023"/>
                    <a:pt x="6674266" y="247828"/>
                  </a:cubicBezTo>
                  <a:cubicBezTo>
                    <a:pt x="6684533" y="253532"/>
                    <a:pt x="6700715" y="248121"/>
                    <a:pt x="6708449" y="239282"/>
                  </a:cubicBezTo>
                  <a:cubicBezTo>
                    <a:pt x="6722735" y="222956"/>
                    <a:pt x="6726029" y="199604"/>
                    <a:pt x="6734086" y="179462"/>
                  </a:cubicBezTo>
                  <a:cubicBezTo>
                    <a:pt x="6737432" y="171098"/>
                    <a:pt x="6737004" y="160858"/>
                    <a:pt x="6742632" y="153824"/>
                  </a:cubicBezTo>
                  <a:cubicBezTo>
                    <a:pt x="6749048" y="145804"/>
                    <a:pt x="6759724" y="142430"/>
                    <a:pt x="6768270" y="136733"/>
                  </a:cubicBezTo>
                  <a:cubicBezTo>
                    <a:pt x="6813784" y="151905"/>
                    <a:pt x="6778860" y="149663"/>
                    <a:pt x="6810999" y="111096"/>
                  </a:cubicBezTo>
                  <a:cubicBezTo>
                    <a:pt x="6817574" y="103206"/>
                    <a:pt x="6828090" y="99701"/>
                    <a:pt x="6836636" y="94004"/>
                  </a:cubicBezTo>
                  <a:cubicBezTo>
                    <a:pt x="6845182" y="96853"/>
                    <a:pt x="6854216" y="98522"/>
                    <a:pt x="6862273" y="102550"/>
                  </a:cubicBezTo>
                  <a:cubicBezTo>
                    <a:pt x="6871460" y="107143"/>
                    <a:pt x="6878035" y="122463"/>
                    <a:pt x="6887911" y="119641"/>
                  </a:cubicBezTo>
                  <a:cubicBezTo>
                    <a:pt x="6904977" y="114765"/>
                    <a:pt x="6928694" y="75558"/>
                    <a:pt x="6939185" y="59821"/>
                  </a:cubicBezTo>
                  <a:cubicBezTo>
                    <a:pt x="6959125" y="94004"/>
                    <a:pt x="6991245" y="123565"/>
                    <a:pt x="6999006" y="162370"/>
                  </a:cubicBezTo>
                  <a:cubicBezTo>
                    <a:pt x="7001855" y="176613"/>
                    <a:pt x="6999495" y="193013"/>
                    <a:pt x="7007552" y="205099"/>
                  </a:cubicBezTo>
                  <a:cubicBezTo>
                    <a:pt x="7012549" y="212594"/>
                    <a:pt x="7024643" y="210796"/>
                    <a:pt x="7033189" y="213645"/>
                  </a:cubicBezTo>
                  <a:cubicBezTo>
                    <a:pt x="7044583" y="196553"/>
                    <a:pt x="7057396" y="180327"/>
                    <a:pt x="7067372" y="162370"/>
                  </a:cubicBezTo>
                  <a:cubicBezTo>
                    <a:pt x="7087680" y="125817"/>
                    <a:pt x="7060969" y="144208"/>
                    <a:pt x="7093010" y="128187"/>
                  </a:cubicBezTo>
                </a:path>
              </a:pathLst>
            </a:cu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dirty="0"/>
            </a:p>
          </p:txBody>
        </p:sp>
        <p:cxnSp>
          <p:nvCxnSpPr>
            <p:cNvPr id="74" name="Straight Arrow Connector 73"/>
            <p:cNvCxnSpPr/>
            <p:nvPr/>
          </p:nvCxnSpPr>
          <p:spPr>
            <a:xfrm>
              <a:off x="2462259" y="4731151"/>
              <a:ext cx="0" cy="212631"/>
            </a:xfrm>
            <a:prstGeom prst="straightConnector1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TextBox 74"/>
            <p:cNvSpPr txBox="1"/>
            <p:nvPr/>
          </p:nvSpPr>
          <p:spPr>
            <a:xfrm>
              <a:off x="2804007" y="4732670"/>
              <a:ext cx="1028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dirty="0"/>
                <a:t>Track Irregularities</a:t>
              </a:r>
            </a:p>
          </p:txBody>
        </p:sp>
        <p:cxnSp>
          <p:nvCxnSpPr>
            <p:cNvPr id="76" name="Straight Connector 75"/>
            <p:cNvCxnSpPr/>
            <p:nvPr/>
          </p:nvCxnSpPr>
          <p:spPr>
            <a:xfrm flipH="1">
              <a:off x="2315969" y="3362932"/>
              <a:ext cx="303158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/>
            <p:cNvCxnSpPr/>
            <p:nvPr/>
          </p:nvCxnSpPr>
          <p:spPr>
            <a:xfrm flipH="1">
              <a:off x="2347049" y="3315257"/>
              <a:ext cx="226958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/>
            <p:cNvCxnSpPr/>
            <p:nvPr/>
          </p:nvCxnSpPr>
          <p:spPr>
            <a:xfrm flipH="1">
              <a:off x="2397895" y="3283351"/>
              <a:ext cx="113479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Oval 78"/>
            <p:cNvSpPr/>
            <p:nvPr/>
          </p:nvSpPr>
          <p:spPr>
            <a:xfrm>
              <a:off x="2269057" y="4774560"/>
              <a:ext cx="407032" cy="381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dirty="0"/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4919133" y="3649130"/>
            <a:ext cx="4198718" cy="2354410"/>
            <a:chOff x="5075527" y="3933775"/>
            <a:chExt cx="3885930" cy="1937526"/>
          </a:xfrm>
        </p:grpSpPr>
        <p:grpSp>
          <p:nvGrpSpPr>
            <p:cNvPr id="6" name="Group 5"/>
            <p:cNvGrpSpPr/>
            <p:nvPr/>
          </p:nvGrpSpPr>
          <p:grpSpPr>
            <a:xfrm>
              <a:off x="6890499" y="4094279"/>
              <a:ext cx="2070958" cy="1344536"/>
              <a:chOff x="3473698" y="5116680"/>
              <a:chExt cx="2421510" cy="1615829"/>
            </a:xfrm>
          </p:grpSpPr>
          <p:sp>
            <p:nvSpPr>
              <p:cNvPr id="13" name="Rectangle 12"/>
              <p:cNvSpPr/>
              <p:nvPr/>
            </p:nvSpPr>
            <p:spPr bwMode="auto">
              <a:xfrm>
                <a:off x="3473698" y="5116680"/>
                <a:ext cx="1872208" cy="1327453"/>
              </a:xfrm>
              <a:prstGeom prst="rect">
                <a:avLst/>
              </a:prstGeom>
              <a:noFill/>
              <a:ln w="9525" cap="sq" cmpd="sng" algn="ctr">
                <a:solidFill>
                  <a:srgbClr val="FF0000"/>
                </a:solidFill>
                <a:prstDash val="dashDot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801654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sv-SE" sz="2100" dirty="0">
                  <a:latin typeface="Times"/>
                </a:endParaRPr>
              </a:p>
            </p:txBody>
          </p:sp>
          <p:sp>
            <p:nvSpPr>
              <p:cNvPr id="4" name="TextBox 3"/>
              <p:cNvSpPr txBox="1"/>
              <p:nvPr/>
            </p:nvSpPr>
            <p:spPr>
              <a:xfrm>
                <a:off x="4913857" y="6444132"/>
                <a:ext cx="981351" cy="2883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100" dirty="0">
                    <a:solidFill>
                      <a:srgbClr val="FF0000"/>
                    </a:solidFill>
                  </a:rPr>
                  <a:t>controller</a:t>
                </a:r>
                <a:endParaRPr lang="sv-SE" sz="1100" dirty="0">
                  <a:solidFill>
                    <a:srgbClr val="FF0000"/>
                  </a:solidFill>
                </a:endParaRPr>
              </a:p>
            </p:txBody>
          </p:sp>
        </p:grpSp>
        <p:grpSp>
          <p:nvGrpSpPr>
            <p:cNvPr id="10" name="Group 9"/>
            <p:cNvGrpSpPr/>
            <p:nvPr/>
          </p:nvGrpSpPr>
          <p:grpSpPr>
            <a:xfrm>
              <a:off x="5075527" y="3933775"/>
              <a:ext cx="3111506" cy="1937526"/>
              <a:chOff x="1203861" y="4030373"/>
              <a:chExt cx="3116489" cy="2322280"/>
            </a:xfrm>
          </p:grpSpPr>
          <p:cxnSp>
            <p:nvCxnSpPr>
              <p:cNvPr id="80" name="Straight Connector 79"/>
              <p:cNvCxnSpPr/>
              <p:nvPr/>
            </p:nvCxnSpPr>
            <p:spPr>
              <a:xfrm flipH="1">
                <a:off x="2303035" y="5722927"/>
                <a:ext cx="29055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 flipH="1" flipV="1">
                <a:off x="2303036" y="5608627"/>
                <a:ext cx="1" cy="1143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2144160" y="5567350"/>
                <a:ext cx="160949" cy="381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2312494" y="5145075"/>
                <a:ext cx="152400" cy="381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 flipV="1">
                <a:off x="2141149" y="5491150"/>
                <a:ext cx="327919" cy="762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 flipH="1" flipV="1">
                <a:off x="2152707" y="5414950"/>
                <a:ext cx="316586" cy="762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 flipV="1">
                <a:off x="2141147" y="5338750"/>
                <a:ext cx="331320" cy="762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 flipH="1" flipV="1">
                <a:off x="2144158" y="5259375"/>
                <a:ext cx="336530" cy="762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 flipH="1">
                <a:off x="2145320" y="5183175"/>
                <a:ext cx="319574" cy="762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 flipV="1">
                <a:off x="2314175" y="5072050"/>
                <a:ext cx="0" cy="73026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 flipH="1">
                <a:off x="2593585" y="5722927"/>
                <a:ext cx="24285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1" name="Rectangle 90"/>
              <p:cNvSpPr/>
              <p:nvPr/>
            </p:nvSpPr>
            <p:spPr>
              <a:xfrm>
                <a:off x="2224632" y="4691052"/>
                <a:ext cx="687350" cy="381000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sv-SE" dirty="0"/>
              </a:p>
            </p:txBody>
          </p:sp>
          <p:sp>
            <p:nvSpPr>
              <p:cNvPr id="92" name="Rectangle 91"/>
              <p:cNvSpPr/>
              <p:nvPr/>
            </p:nvSpPr>
            <p:spPr>
              <a:xfrm>
                <a:off x="2779823" y="5270565"/>
                <a:ext cx="133514" cy="321467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sv-SE" dirty="0"/>
              </a:p>
            </p:txBody>
          </p:sp>
          <p:cxnSp>
            <p:nvCxnSpPr>
              <p:cNvPr id="93" name="Straight Connector 92"/>
              <p:cNvCxnSpPr>
                <a:stCxn id="92" idx="2"/>
              </p:cNvCxnSpPr>
              <p:nvPr/>
            </p:nvCxnSpPr>
            <p:spPr>
              <a:xfrm>
                <a:off x="2846580" y="5592032"/>
                <a:ext cx="0" cy="136526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/>
              <p:cNvCxnSpPr>
                <a:stCxn id="92" idx="0"/>
              </p:cNvCxnSpPr>
              <p:nvPr/>
            </p:nvCxnSpPr>
            <p:spPr>
              <a:xfrm flipV="1">
                <a:off x="2846580" y="5072052"/>
                <a:ext cx="4472" cy="19851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Arrow Connector 94"/>
              <p:cNvCxnSpPr/>
              <p:nvPr/>
            </p:nvCxnSpPr>
            <p:spPr>
              <a:xfrm>
                <a:off x="2846580" y="5296361"/>
                <a:ext cx="0" cy="269876"/>
              </a:xfrm>
              <a:prstGeom prst="straightConnector1">
                <a:avLst/>
              </a:prstGeom>
              <a:ln w="9525" cap="rnd" cmpd="sng">
                <a:solidFill>
                  <a:schemeClr val="tx1"/>
                </a:solidFill>
                <a:headEnd type="stealth"/>
                <a:tailEnd type="stealt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96" name="TextBox 95"/>
                  <p:cNvSpPr txBox="1"/>
                  <p:nvPr/>
                </p:nvSpPr>
                <p:spPr>
                  <a:xfrm>
                    <a:off x="1773034" y="5257402"/>
                    <a:ext cx="383182" cy="291298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sz="12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200" b="0" i="1" smtClean="0">
                                  <a:latin typeface="Cambria Math"/>
                                </a:rPr>
                                <m:t>𝑘</m:t>
                              </m:r>
                            </m:e>
                            <m:sub>
                              <m:r>
                                <a:rPr lang="en-US" sz="1200" b="0" i="1" smtClean="0">
                                  <a:latin typeface="Cambria Math"/>
                                </a:rPr>
                                <m:t>𝑝</m:t>
                              </m:r>
                            </m:sub>
                          </m:sSub>
                        </m:oMath>
                      </m:oMathPara>
                    </a14:m>
                    <a:endParaRPr lang="sv-SE" sz="1200" dirty="0"/>
                  </a:p>
                </p:txBody>
              </p:sp>
            </mc:Choice>
            <mc:Fallback xmlns="">
              <p:sp>
                <p:nvSpPr>
                  <p:cNvPr id="96" name="TextBox 95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773034" y="5257402"/>
                    <a:ext cx="383182" cy="291298"/>
                  </a:xfrm>
                  <a:prstGeom prst="rect">
                    <a:avLst/>
                  </a:prstGeom>
                  <a:blipFill rotWithShape="1">
                    <a:blip r:embed="rId13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sv-S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sp>
            <p:nvSpPr>
              <p:cNvPr id="97" name="TextBox 96"/>
              <p:cNvSpPr txBox="1"/>
              <p:nvPr/>
            </p:nvSpPr>
            <p:spPr>
              <a:xfrm>
                <a:off x="3041634" y="5608627"/>
                <a:ext cx="584099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800" dirty="0"/>
                  <a:t>Actuator</a:t>
                </a:r>
                <a:endParaRPr lang="sv-SE" sz="800" dirty="0"/>
              </a:p>
            </p:txBody>
          </p:sp>
          <p:sp>
            <p:nvSpPr>
              <p:cNvPr id="98" name="Rectangle 97"/>
              <p:cNvSpPr/>
              <p:nvPr/>
            </p:nvSpPr>
            <p:spPr>
              <a:xfrm>
                <a:off x="2715329" y="4552673"/>
                <a:ext cx="136372" cy="134939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sv-SE" dirty="0"/>
              </a:p>
            </p:txBody>
          </p:sp>
          <p:sp>
            <p:nvSpPr>
              <p:cNvPr id="99" name="Rectangle 98"/>
              <p:cNvSpPr/>
              <p:nvPr/>
            </p:nvSpPr>
            <p:spPr>
              <a:xfrm>
                <a:off x="2749422" y="4480834"/>
                <a:ext cx="68186" cy="67470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sv-SE" dirty="0"/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00" name="TextBox 99"/>
                  <p:cNvSpPr txBox="1"/>
                  <p:nvPr/>
                </p:nvSpPr>
                <p:spPr>
                  <a:xfrm>
                    <a:off x="2341491" y="4735903"/>
                    <a:ext cx="426463" cy="291298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sz="12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200" b="0" i="1" smtClean="0">
                                  <a:latin typeface="Cambria Math"/>
                                </a:rPr>
                                <m:t>𝑚</m:t>
                              </m:r>
                            </m:e>
                            <m:sub>
                              <m:r>
                                <a:rPr lang="en-US" sz="1200" b="0" i="1" smtClean="0">
                                  <a:latin typeface="Cambria Math"/>
                                </a:rPr>
                                <m:t>𝑝</m:t>
                              </m:r>
                            </m:sub>
                          </m:sSub>
                        </m:oMath>
                      </m:oMathPara>
                    </a14:m>
                    <a:endParaRPr lang="sv-SE" sz="1200" dirty="0"/>
                  </a:p>
                </p:txBody>
              </p:sp>
            </mc:Choice>
            <mc:Fallback xmlns="">
              <p:sp>
                <p:nvSpPr>
                  <p:cNvPr id="100" name="TextBox 99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2341491" y="4735903"/>
                    <a:ext cx="426463" cy="291298"/>
                  </a:xfrm>
                  <a:prstGeom prst="rect">
                    <a:avLst/>
                  </a:prstGeom>
                  <a:blipFill rotWithShape="1">
                    <a:blip r:embed="rId14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sv-S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cxnSp>
            <p:nvCxnSpPr>
              <p:cNvPr id="101" name="Straight Connector 100"/>
              <p:cNvCxnSpPr>
                <a:stCxn id="99" idx="3"/>
              </p:cNvCxnSpPr>
              <p:nvPr/>
            </p:nvCxnSpPr>
            <p:spPr>
              <a:xfrm>
                <a:off x="2817608" y="4514569"/>
                <a:ext cx="447393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>
                <a:stCxn id="91" idx="1"/>
              </p:cNvCxnSpPr>
              <p:nvPr/>
            </p:nvCxnSpPr>
            <p:spPr>
              <a:xfrm flipH="1">
                <a:off x="1961491" y="4881552"/>
                <a:ext cx="263143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Arrow Connector 102"/>
              <p:cNvCxnSpPr/>
              <p:nvPr/>
            </p:nvCxnSpPr>
            <p:spPr>
              <a:xfrm flipV="1">
                <a:off x="1961489" y="4735903"/>
                <a:ext cx="0" cy="14565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04" name="TextBox 103"/>
                  <p:cNvSpPr txBox="1"/>
                  <p:nvPr/>
                </p:nvSpPr>
                <p:spPr>
                  <a:xfrm>
                    <a:off x="1646619" y="4689463"/>
                    <a:ext cx="338682" cy="258084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sz="10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000" b="0" i="1" smtClean="0">
                                  <a:latin typeface="Cambria Math"/>
                                </a:rPr>
                                <m:t>𝑧</m:t>
                              </m:r>
                            </m:e>
                            <m:sub>
                              <m:r>
                                <a:rPr lang="en-US" sz="1000" b="0" i="1" smtClean="0">
                                  <a:latin typeface="Cambria Math"/>
                                </a:rPr>
                                <m:t>𝑝</m:t>
                              </m:r>
                            </m:sub>
                          </m:sSub>
                        </m:oMath>
                      </m:oMathPara>
                    </a14:m>
                    <a:endParaRPr lang="sv-SE" sz="1000" dirty="0"/>
                  </a:p>
                </p:txBody>
              </p:sp>
            </mc:Choice>
            <mc:Fallback xmlns="">
              <p:sp>
                <p:nvSpPr>
                  <p:cNvPr id="104" name="TextBox 103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646619" y="4689463"/>
                    <a:ext cx="338682" cy="258084"/>
                  </a:xfrm>
                  <a:prstGeom prst="rect">
                    <a:avLst/>
                  </a:prstGeom>
                  <a:blipFill rotWithShape="1">
                    <a:blip r:embed="rId15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sv-S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05" name="TextBox 104"/>
                  <p:cNvSpPr txBox="1"/>
                  <p:nvPr/>
                </p:nvSpPr>
                <p:spPr>
                  <a:xfrm>
                    <a:off x="2767050" y="4222750"/>
                    <a:ext cx="338682" cy="258084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sz="10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acc>
                                <m:accPr>
                                  <m:chr m:val="̈"/>
                                  <m:ctrlPr>
                                    <a:rPr lang="en-US" sz="10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sz="1000" b="0" i="1" smtClean="0">
                                      <a:latin typeface="Cambria Math"/>
                                    </a:rPr>
                                    <m:t>𝑧</m:t>
                                  </m:r>
                                </m:e>
                              </m:acc>
                            </m:e>
                            <m:sub>
                              <m:r>
                                <a:rPr lang="en-US" sz="1000" b="0" i="1" smtClean="0">
                                  <a:latin typeface="Cambria Math"/>
                                </a:rPr>
                                <m:t>𝑝</m:t>
                              </m:r>
                            </m:sub>
                          </m:sSub>
                        </m:oMath>
                      </m:oMathPara>
                    </a14:m>
                    <a:endParaRPr lang="sv-SE" sz="1000" dirty="0"/>
                  </a:p>
                </p:txBody>
              </p:sp>
            </mc:Choice>
            <mc:Fallback xmlns="">
              <p:sp>
                <p:nvSpPr>
                  <p:cNvPr id="105" name="TextBox 104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2767050" y="4222750"/>
                    <a:ext cx="338682" cy="258084"/>
                  </a:xfrm>
                  <a:prstGeom prst="rect">
                    <a:avLst/>
                  </a:prstGeom>
                  <a:blipFill rotWithShape="1">
                    <a:blip r:embed="rId16"/>
                    <a:stretch>
                      <a:fillRect r="-6667"/>
                    </a:stretch>
                  </a:blipFill>
                </p:spPr>
                <p:txBody>
                  <a:bodyPr/>
                  <a:lstStyle/>
                  <a:p>
                    <a:r>
                      <a:rPr lang="sv-S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cxnSp>
            <p:nvCxnSpPr>
              <p:cNvPr id="106" name="Straight Arrow Connector 105"/>
              <p:cNvCxnSpPr/>
              <p:nvPr/>
            </p:nvCxnSpPr>
            <p:spPr>
              <a:xfrm flipH="1" flipV="1">
                <a:off x="2960164" y="5579252"/>
                <a:ext cx="119488" cy="58749"/>
              </a:xfrm>
              <a:prstGeom prst="straightConnector1">
                <a:avLst/>
              </a:prstGeom>
              <a:ln w="6350">
                <a:solidFill>
                  <a:schemeClr val="tx1"/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07" name="TextBox 106"/>
                  <p:cNvSpPr txBox="1"/>
                  <p:nvPr/>
                </p:nvSpPr>
                <p:spPr>
                  <a:xfrm>
                    <a:off x="3455022" y="5157370"/>
                    <a:ext cx="297069" cy="246221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n-US" sz="1000" b="0" i="1" smtClean="0">
                              <a:latin typeface="Cambria Math"/>
                            </a:rPr>
                            <m:t>𝐹</m:t>
                          </m:r>
                        </m:oMath>
                      </m:oMathPara>
                    </a14:m>
                    <a:endParaRPr lang="sv-SE" sz="1000" dirty="0"/>
                  </a:p>
                </p:txBody>
              </p:sp>
            </mc:Choice>
            <mc:Fallback xmlns="">
              <p:sp>
                <p:nvSpPr>
                  <p:cNvPr id="107" name="TextBox 106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3455022" y="5157370"/>
                    <a:ext cx="297069" cy="246221"/>
                  </a:xfrm>
                  <a:prstGeom prst="rect">
                    <a:avLst/>
                  </a:prstGeom>
                  <a:blipFill rotWithShape="1">
                    <a:blip r:embed="rId17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sv-S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cxnSp>
            <p:nvCxnSpPr>
              <p:cNvPr id="108" name="Elbow Connector 107"/>
              <p:cNvCxnSpPr>
                <a:stCxn id="116" idx="3"/>
                <a:endCxn id="92" idx="3"/>
              </p:cNvCxnSpPr>
              <p:nvPr/>
            </p:nvCxnSpPr>
            <p:spPr>
              <a:xfrm flipH="1">
                <a:off x="2913337" y="4512191"/>
                <a:ext cx="567324" cy="919108"/>
              </a:xfrm>
              <a:prstGeom prst="bentConnector3">
                <a:avLst>
                  <a:gd name="adj1" fmla="val -194756"/>
                </a:avLst>
              </a:prstGeom>
              <a:ln>
                <a:solidFill>
                  <a:schemeClr val="tx1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/>
              <p:cNvCxnSpPr/>
              <p:nvPr/>
            </p:nvCxnSpPr>
            <p:spPr>
              <a:xfrm flipH="1">
                <a:off x="2102989" y="5948351"/>
                <a:ext cx="263143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Arrow Connector 109"/>
              <p:cNvCxnSpPr/>
              <p:nvPr/>
            </p:nvCxnSpPr>
            <p:spPr>
              <a:xfrm flipV="1">
                <a:off x="2102987" y="5635614"/>
                <a:ext cx="2" cy="312738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11" name="TextBox 110"/>
                  <p:cNvSpPr txBox="1"/>
                  <p:nvPr/>
                </p:nvSpPr>
                <p:spPr>
                  <a:xfrm>
                    <a:off x="1752600" y="5631406"/>
                    <a:ext cx="367921" cy="246221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sz="10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000" b="0" i="1" smtClean="0">
                                  <a:latin typeface="Cambria Math"/>
                                </a:rPr>
                                <m:t>𝑧</m:t>
                              </m:r>
                            </m:e>
                            <m:sub>
                              <m:r>
                                <a:rPr lang="en-US" sz="1000" b="0" i="1" smtClean="0">
                                  <a:latin typeface="Cambria Math"/>
                                </a:rPr>
                                <m:t>𝑤</m:t>
                              </m:r>
                            </m:sub>
                          </m:sSub>
                        </m:oMath>
                      </m:oMathPara>
                    </a14:m>
                    <a:endParaRPr lang="sv-SE" sz="1000" dirty="0"/>
                  </a:p>
                </p:txBody>
              </p:sp>
            </mc:Choice>
            <mc:Fallback xmlns="">
              <p:sp>
                <p:nvSpPr>
                  <p:cNvPr id="111" name="TextBox 110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752600" y="5631406"/>
                    <a:ext cx="367921" cy="246221"/>
                  </a:xfrm>
                  <a:prstGeom prst="rect">
                    <a:avLst/>
                  </a:prstGeom>
                  <a:blipFill rotWithShape="1">
                    <a:blip r:embed="rId18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sv-S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sp>
            <p:nvSpPr>
              <p:cNvPr id="112" name="Freeform 111"/>
              <p:cNvSpPr/>
              <p:nvPr/>
            </p:nvSpPr>
            <p:spPr>
              <a:xfrm>
                <a:off x="1214702" y="6040018"/>
                <a:ext cx="2537389" cy="312635"/>
              </a:xfrm>
              <a:custGeom>
                <a:avLst/>
                <a:gdLst>
                  <a:gd name="connsiteX0" fmla="*/ 0 w 7093010"/>
                  <a:gd name="connsiteY0" fmla="*/ 145279 h 521294"/>
                  <a:gd name="connsiteX1" fmla="*/ 42729 w 7093010"/>
                  <a:gd name="connsiteY1" fmla="*/ 136733 h 521294"/>
                  <a:gd name="connsiteX2" fmla="*/ 162371 w 7093010"/>
                  <a:gd name="connsiteY2" fmla="*/ 119641 h 521294"/>
                  <a:gd name="connsiteX3" fmla="*/ 188008 w 7093010"/>
                  <a:gd name="connsiteY3" fmla="*/ 102550 h 521294"/>
                  <a:gd name="connsiteX4" fmla="*/ 213645 w 7093010"/>
                  <a:gd name="connsiteY4" fmla="*/ 94004 h 521294"/>
                  <a:gd name="connsiteX5" fmla="*/ 299103 w 7093010"/>
                  <a:gd name="connsiteY5" fmla="*/ 119641 h 521294"/>
                  <a:gd name="connsiteX6" fmla="*/ 316195 w 7093010"/>
                  <a:gd name="connsiteY6" fmla="*/ 145279 h 521294"/>
                  <a:gd name="connsiteX7" fmla="*/ 358924 w 7093010"/>
                  <a:gd name="connsiteY7" fmla="*/ 136733 h 521294"/>
                  <a:gd name="connsiteX8" fmla="*/ 384561 w 7093010"/>
                  <a:gd name="connsiteY8" fmla="*/ 119641 h 521294"/>
                  <a:gd name="connsiteX9" fmla="*/ 418744 w 7093010"/>
                  <a:gd name="connsiteY9" fmla="*/ 102550 h 521294"/>
                  <a:gd name="connsiteX10" fmla="*/ 461473 w 7093010"/>
                  <a:gd name="connsiteY10" fmla="*/ 76912 h 521294"/>
                  <a:gd name="connsiteX11" fmla="*/ 504202 w 7093010"/>
                  <a:gd name="connsiteY11" fmla="*/ 68367 h 521294"/>
                  <a:gd name="connsiteX12" fmla="*/ 529840 w 7093010"/>
                  <a:gd name="connsiteY12" fmla="*/ 51275 h 521294"/>
                  <a:gd name="connsiteX13" fmla="*/ 572569 w 7093010"/>
                  <a:gd name="connsiteY13" fmla="*/ 102550 h 521294"/>
                  <a:gd name="connsiteX14" fmla="*/ 623843 w 7093010"/>
                  <a:gd name="connsiteY14" fmla="*/ 153824 h 521294"/>
                  <a:gd name="connsiteX15" fmla="*/ 649481 w 7093010"/>
                  <a:gd name="connsiteY15" fmla="*/ 222191 h 521294"/>
                  <a:gd name="connsiteX16" fmla="*/ 675118 w 7093010"/>
                  <a:gd name="connsiteY16" fmla="*/ 205099 h 521294"/>
                  <a:gd name="connsiteX17" fmla="*/ 717847 w 7093010"/>
                  <a:gd name="connsiteY17" fmla="*/ 162370 h 521294"/>
                  <a:gd name="connsiteX18" fmla="*/ 743485 w 7093010"/>
                  <a:gd name="connsiteY18" fmla="*/ 145279 h 521294"/>
                  <a:gd name="connsiteX19" fmla="*/ 769122 w 7093010"/>
                  <a:gd name="connsiteY19" fmla="*/ 119641 h 521294"/>
                  <a:gd name="connsiteX20" fmla="*/ 803305 w 7093010"/>
                  <a:gd name="connsiteY20" fmla="*/ 102550 h 521294"/>
                  <a:gd name="connsiteX21" fmla="*/ 837488 w 7093010"/>
                  <a:gd name="connsiteY21" fmla="*/ 162370 h 521294"/>
                  <a:gd name="connsiteX22" fmla="*/ 863126 w 7093010"/>
                  <a:gd name="connsiteY22" fmla="*/ 145279 h 521294"/>
                  <a:gd name="connsiteX23" fmla="*/ 940038 w 7093010"/>
                  <a:gd name="connsiteY23" fmla="*/ 59821 h 521294"/>
                  <a:gd name="connsiteX24" fmla="*/ 999858 w 7093010"/>
                  <a:gd name="connsiteY24" fmla="*/ 51275 h 521294"/>
                  <a:gd name="connsiteX25" fmla="*/ 1059679 w 7093010"/>
                  <a:gd name="connsiteY25" fmla="*/ 119641 h 521294"/>
                  <a:gd name="connsiteX26" fmla="*/ 1110954 w 7093010"/>
                  <a:gd name="connsiteY26" fmla="*/ 188008 h 521294"/>
                  <a:gd name="connsiteX27" fmla="*/ 1239141 w 7093010"/>
                  <a:gd name="connsiteY27" fmla="*/ 111096 h 521294"/>
                  <a:gd name="connsiteX28" fmla="*/ 1273324 w 7093010"/>
                  <a:gd name="connsiteY28" fmla="*/ 85458 h 521294"/>
                  <a:gd name="connsiteX29" fmla="*/ 1324599 w 7093010"/>
                  <a:gd name="connsiteY29" fmla="*/ 102550 h 521294"/>
                  <a:gd name="connsiteX30" fmla="*/ 1350236 w 7093010"/>
                  <a:gd name="connsiteY30" fmla="*/ 145279 h 521294"/>
                  <a:gd name="connsiteX31" fmla="*/ 1367328 w 7093010"/>
                  <a:gd name="connsiteY31" fmla="*/ 170916 h 521294"/>
                  <a:gd name="connsiteX32" fmla="*/ 1392965 w 7093010"/>
                  <a:gd name="connsiteY32" fmla="*/ 179462 h 521294"/>
                  <a:gd name="connsiteX33" fmla="*/ 1418602 w 7093010"/>
                  <a:gd name="connsiteY33" fmla="*/ 170916 h 521294"/>
                  <a:gd name="connsiteX34" fmla="*/ 1469877 w 7093010"/>
                  <a:gd name="connsiteY34" fmla="*/ 119641 h 521294"/>
                  <a:gd name="connsiteX35" fmla="*/ 1478423 w 7093010"/>
                  <a:gd name="connsiteY35" fmla="*/ 94004 h 521294"/>
                  <a:gd name="connsiteX36" fmla="*/ 1504060 w 7093010"/>
                  <a:gd name="connsiteY36" fmla="*/ 85458 h 521294"/>
                  <a:gd name="connsiteX37" fmla="*/ 1555335 w 7093010"/>
                  <a:gd name="connsiteY37" fmla="*/ 76912 h 521294"/>
                  <a:gd name="connsiteX38" fmla="*/ 1589518 w 7093010"/>
                  <a:gd name="connsiteY38" fmla="*/ 128187 h 521294"/>
                  <a:gd name="connsiteX39" fmla="*/ 1632247 w 7093010"/>
                  <a:gd name="connsiteY39" fmla="*/ 205099 h 521294"/>
                  <a:gd name="connsiteX40" fmla="*/ 1657885 w 7093010"/>
                  <a:gd name="connsiteY40" fmla="*/ 213645 h 521294"/>
                  <a:gd name="connsiteX41" fmla="*/ 1666430 w 7093010"/>
                  <a:gd name="connsiteY41" fmla="*/ 188008 h 521294"/>
                  <a:gd name="connsiteX42" fmla="*/ 1743342 w 7093010"/>
                  <a:gd name="connsiteY42" fmla="*/ 153824 h 521294"/>
                  <a:gd name="connsiteX43" fmla="*/ 1794617 w 7093010"/>
                  <a:gd name="connsiteY43" fmla="*/ 196553 h 521294"/>
                  <a:gd name="connsiteX44" fmla="*/ 1828800 w 7093010"/>
                  <a:gd name="connsiteY44" fmla="*/ 170916 h 521294"/>
                  <a:gd name="connsiteX45" fmla="*/ 1922804 w 7093010"/>
                  <a:gd name="connsiteY45" fmla="*/ 128187 h 521294"/>
                  <a:gd name="connsiteX46" fmla="*/ 1948442 w 7093010"/>
                  <a:gd name="connsiteY46" fmla="*/ 136733 h 521294"/>
                  <a:gd name="connsiteX47" fmla="*/ 1974079 w 7093010"/>
                  <a:gd name="connsiteY47" fmla="*/ 162370 h 521294"/>
                  <a:gd name="connsiteX48" fmla="*/ 2008262 w 7093010"/>
                  <a:gd name="connsiteY48" fmla="*/ 230737 h 521294"/>
                  <a:gd name="connsiteX49" fmla="*/ 2059537 w 7093010"/>
                  <a:gd name="connsiteY49" fmla="*/ 205099 h 521294"/>
                  <a:gd name="connsiteX50" fmla="*/ 2110812 w 7093010"/>
                  <a:gd name="connsiteY50" fmla="*/ 145279 h 521294"/>
                  <a:gd name="connsiteX51" fmla="*/ 2196270 w 7093010"/>
                  <a:gd name="connsiteY51" fmla="*/ 17092 h 521294"/>
                  <a:gd name="connsiteX52" fmla="*/ 2221907 w 7093010"/>
                  <a:gd name="connsiteY52" fmla="*/ 0 h 521294"/>
                  <a:gd name="connsiteX53" fmla="*/ 2256090 w 7093010"/>
                  <a:gd name="connsiteY53" fmla="*/ 111096 h 521294"/>
                  <a:gd name="connsiteX54" fmla="*/ 2307365 w 7093010"/>
                  <a:gd name="connsiteY54" fmla="*/ 102550 h 521294"/>
                  <a:gd name="connsiteX55" fmla="*/ 2315911 w 7093010"/>
                  <a:gd name="connsiteY55" fmla="*/ 128187 h 521294"/>
                  <a:gd name="connsiteX56" fmla="*/ 2358640 w 7093010"/>
                  <a:gd name="connsiteY56" fmla="*/ 102550 h 521294"/>
                  <a:gd name="connsiteX57" fmla="*/ 2384277 w 7093010"/>
                  <a:gd name="connsiteY57" fmla="*/ 94004 h 521294"/>
                  <a:gd name="connsiteX58" fmla="*/ 2392823 w 7093010"/>
                  <a:gd name="connsiteY58" fmla="*/ 136733 h 521294"/>
                  <a:gd name="connsiteX59" fmla="*/ 2435552 w 7093010"/>
                  <a:gd name="connsiteY59" fmla="*/ 170916 h 521294"/>
                  <a:gd name="connsiteX60" fmla="*/ 2444098 w 7093010"/>
                  <a:gd name="connsiteY60" fmla="*/ 205099 h 521294"/>
                  <a:gd name="connsiteX61" fmla="*/ 2461189 w 7093010"/>
                  <a:gd name="connsiteY61" fmla="*/ 230737 h 521294"/>
                  <a:gd name="connsiteX62" fmla="*/ 2503918 w 7093010"/>
                  <a:gd name="connsiteY62" fmla="*/ 179462 h 521294"/>
                  <a:gd name="connsiteX63" fmla="*/ 2538101 w 7093010"/>
                  <a:gd name="connsiteY63" fmla="*/ 119641 h 521294"/>
                  <a:gd name="connsiteX64" fmla="*/ 2546647 w 7093010"/>
                  <a:gd name="connsiteY64" fmla="*/ 145279 h 521294"/>
                  <a:gd name="connsiteX65" fmla="*/ 2572285 w 7093010"/>
                  <a:gd name="connsiteY65" fmla="*/ 188008 h 521294"/>
                  <a:gd name="connsiteX66" fmla="*/ 2597922 w 7093010"/>
                  <a:gd name="connsiteY66" fmla="*/ 179462 h 521294"/>
                  <a:gd name="connsiteX67" fmla="*/ 2632105 w 7093010"/>
                  <a:gd name="connsiteY67" fmla="*/ 153824 h 521294"/>
                  <a:gd name="connsiteX68" fmla="*/ 2657742 w 7093010"/>
                  <a:gd name="connsiteY68" fmla="*/ 196553 h 521294"/>
                  <a:gd name="connsiteX69" fmla="*/ 2683380 w 7093010"/>
                  <a:gd name="connsiteY69" fmla="*/ 205099 h 521294"/>
                  <a:gd name="connsiteX70" fmla="*/ 2785929 w 7093010"/>
                  <a:gd name="connsiteY70" fmla="*/ 102550 h 521294"/>
                  <a:gd name="connsiteX71" fmla="*/ 2871387 w 7093010"/>
                  <a:gd name="connsiteY71" fmla="*/ 51275 h 521294"/>
                  <a:gd name="connsiteX72" fmla="*/ 2931208 w 7093010"/>
                  <a:gd name="connsiteY72" fmla="*/ 25638 h 521294"/>
                  <a:gd name="connsiteX73" fmla="*/ 2965391 w 7093010"/>
                  <a:gd name="connsiteY73" fmla="*/ 8546 h 521294"/>
                  <a:gd name="connsiteX74" fmla="*/ 2991028 w 7093010"/>
                  <a:gd name="connsiteY74" fmla="*/ 17092 h 521294"/>
                  <a:gd name="connsiteX75" fmla="*/ 2999574 w 7093010"/>
                  <a:gd name="connsiteY75" fmla="*/ 59821 h 521294"/>
                  <a:gd name="connsiteX76" fmla="*/ 3008120 w 7093010"/>
                  <a:gd name="connsiteY76" fmla="*/ 85458 h 521294"/>
                  <a:gd name="connsiteX77" fmla="*/ 3033757 w 7093010"/>
                  <a:gd name="connsiteY77" fmla="*/ 94004 h 521294"/>
                  <a:gd name="connsiteX78" fmla="*/ 3067941 w 7093010"/>
                  <a:gd name="connsiteY78" fmla="*/ 128187 h 521294"/>
                  <a:gd name="connsiteX79" fmla="*/ 3085032 w 7093010"/>
                  <a:gd name="connsiteY79" fmla="*/ 153824 h 521294"/>
                  <a:gd name="connsiteX80" fmla="*/ 3119215 w 7093010"/>
                  <a:gd name="connsiteY80" fmla="*/ 188008 h 521294"/>
                  <a:gd name="connsiteX81" fmla="*/ 3161944 w 7093010"/>
                  <a:gd name="connsiteY81" fmla="*/ 196553 h 521294"/>
                  <a:gd name="connsiteX82" fmla="*/ 3221765 w 7093010"/>
                  <a:gd name="connsiteY82" fmla="*/ 119641 h 521294"/>
                  <a:gd name="connsiteX83" fmla="*/ 3247402 w 7093010"/>
                  <a:gd name="connsiteY83" fmla="*/ 76912 h 521294"/>
                  <a:gd name="connsiteX84" fmla="*/ 3273040 w 7093010"/>
                  <a:gd name="connsiteY84" fmla="*/ 68367 h 521294"/>
                  <a:gd name="connsiteX85" fmla="*/ 3307223 w 7093010"/>
                  <a:gd name="connsiteY85" fmla="*/ 128187 h 521294"/>
                  <a:gd name="connsiteX86" fmla="*/ 3341406 w 7093010"/>
                  <a:gd name="connsiteY86" fmla="*/ 170916 h 521294"/>
                  <a:gd name="connsiteX87" fmla="*/ 3367043 w 7093010"/>
                  <a:gd name="connsiteY87" fmla="*/ 162370 h 521294"/>
                  <a:gd name="connsiteX88" fmla="*/ 3401227 w 7093010"/>
                  <a:gd name="connsiteY88" fmla="*/ 119641 h 521294"/>
                  <a:gd name="connsiteX89" fmla="*/ 3418318 w 7093010"/>
                  <a:gd name="connsiteY89" fmla="*/ 153824 h 521294"/>
                  <a:gd name="connsiteX90" fmla="*/ 3452501 w 7093010"/>
                  <a:gd name="connsiteY90" fmla="*/ 213645 h 521294"/>
                  <a:gd name="connsiteX91" fmla="*/ 3461047 w 7093010"/>
                  <a:gd name="connsiteY91" fmla="*/ 264920 h 521294"/>
                  <a:gd name="connsiteX92" fmla="*/ 3486685 w 7093010"/>
                  <a:gd name="connsiteY92" fmla="*/ 282011 h 521294"/>
                  <a:gd name="connsiteX93" fmla="*/ 3597780 w 7093010"/>
                  <a:gd name="connsiteY93" fmla="*/ 119641 h 521294"/>
                  <a:gd name="connsiteX94" fmla="*/ 3717421 w 7093010"/>
                  <a:gd name="connsiteY94" fmla="*/ 25638 h 521294"/>
                  <a:gd name="connsiteX95" fmla="*/ 3734513 w 7093010"/>
                  <a:gd name="connsiteY95" fmla="*/ 59821 h 521294"/>
                  <a:gd name="connsiteX96" fmla="*/ 3743058 w 7093010"/>
                  <a:gd name="connsiteY96" fmla="*/ 102550 h 521294"/>
                  <a:gd name="connsiteX97" fmla="*/ 3768696 w 7093010"/>
                  <a:gd name="connsiteY97" fmla="*/ 94004 h 521294"/>
                  <a:gd name="connsiteX98" fmla="*/ 3794333 w 7093010"/>
                  <a:gd name="connsiteY98" fmla="*/ 68367 h 521294"/>
                  <a:gd name="connsiteX99" fmla="*/ 3811425 w 7093010"/>
                  <a:gd name="connsiteY99" fmla="*/ 136733 h 521294"/>
                  <a:gd name="connsiteX100" fmla="*/ 3837062 w 7093010"/>
                  <a:gd name="connsiteY100" fmla="*/ 264920 h 521294"/>
                  <a:gd name="connsiteX101" fmla="*/ 3862700 w 7093010"/>
                  <a:gd name="connsiteY101" fmla="*/ 273466 h 521294"/>
                  <a:gd name="connsiteX102" fmla="*/ 3931066 w 7093010"/>
                  <a:gd name="connsiteY102" fmla="*/ 205099 h 521294"/>
                  <a:gd name="connsiteX103" fmla="*/ 3982341 w 7093010"/>
                  <a:gd name="connsiteY103" fmla="*/ 145279 h 521294"/>
                  <a:gd name="connsiteX104" fmla="*/ 4093436 w 7093010"/>
                  <a:gd name="connsiteY104" fmla="*/ 8546 h 521294"/>
                  <a:gd name="connsiteX105" fmla="*/ 4119073 w 7093010"/>
                  <a:gd name="connsiteY105" fmla="*/ 76912 h 521294"/>
                  <a:gd name="connsiteX106" fmla="*/ 4144711 w 7093010"/>
                  <a:gd name="connsiteY106" fmla="*/ 170916 h 521294"/>
                  <a:gd name="connsiteX107" fmla="*/ 4178894 w 7093010"/>
                  <a:gd name="connsiteY107" fmla="*/ 179462 h 521294"/>
                  <a:gd name="connsiteX108" fmla="*/ 4204531 w 7093010"/>
                  <a:gd name="connsiteY108" fmla="*/ 162370 h 521294"/>
                  <a:gd name="connsiteX109" fmla="*/ 4230169 w 7093010"/>
                  <a:gd name="connsiteY109" fmla="*/ 128187 h 521294"/>
                  <a:gd name="connsiteX110" fmla="*/ 4255806 w 7093010"/>
                  <a:gd name="connsiteY110" fmla="*/ 136733 h 521294"/>
                  <a:gd name="connsiteX111" fmla="*/ 4281443 w 7093010"/>
                  <a:gd name="connsiteY111" fmla="*/ 239282 h 521294"/>
                  <a:gd name="connsiteX112" fmla="*/ 4307081 w 7093010"/>
                  <a:gd name="connsiteY112" fmla="*/ 213645 h 521294"/>
                  <a:gd name="connsiteX113" fmla="*/ 4349810 w 7093010"/>
                  <a:gd name="connsiteY113" fmla="*/ 153824 h 521294"/>
                  <a:gd name="connsiteX114" fmla="*/ 4366901 w 7093010"/>
                  <a:gd name="connsiteY114" fmla="*/ 179462 h 521294"/>
                  <a:gd name="connsiteX115" fmla="*/ 4392539 w 7093010"/>
                  <a:gd name="connsiteY115" fmla="*/ 247828 h 521294"/>
                  <a:gd name="connsiteX116" fmla="*/ 4426722 w 7093010"/>
                  <a:gd name="connsiteY116" fmla="*/ 239282 h 521294"/>
                  <a:gd name="connsiteX117" fmla="*/ 4495088 w 7093010"/>
                  <a:gd name="connsiteY117" fmla="*/ 136733 h 521294"/>
                  <a:gd name="connsiteX118" fmla="*/ 4520726 w 7093010"/>
                  <a:gd name="connsiteY118" fmla="*/ 179462 h 521294"/>
                  <a:gd name="connsiteX119" fmla="*/ 4580546 w 7093010"/>
                  <a:gd name="connsiteY119" fmla="*/ 299103 h 521294"/>
                  <a:gd name="connsiteX120" fmla="*/ 4606184 w 7093010"/>
                  <a:gd name="connsiteY120" fmla="*/ 316195 h 521294"/>
                  <a:gd name="connsiteX121" fmla="*/ 4640367 w 7093010"/>
                  <a:gd name="connsiteY121" fmla="*/ 290557 h 521294"/>
                  <a:gd name="connsiteX122" fmla="*/ 4708733 w 7093010"/>
                  <a:gd name="connsiteY122" fmla="*/ 196553 h 521294"/>
                  <a:gd name="connsiteX123" fmla="*/ 4751462 w 7093010"/>
                  <a:gd name="connsiteY123" fmla="*/ 205099 h 521294"/>
                  <a:gd name="connsiteX124" fmla="*/ 4777100 w 7093010"/>
                  <a:gd name="connsiteY124" fmla="*/ 222191 h 521294"/>
                  <a:gd name="connsiteX125" fmla="*/ 4862557 w 7093010"/>
                  <a:gd name="connsiteY125" fmla="*/ 119641 h 521294"/>
                  <a:gd name="connsiteX126" fmla="*/ 4871103 w 7093010"/>
                  <a:gd name="connsiteY126" fmla="*/ 153824 h 521294"/>
                  <a:gd name="connsiteX127" fmla="*/ 4888195 w 7093010"/>
                  <a:gd name="connsiteY127" fmla="*/ 247828 h 521294"/>
                  <a:gd name="connsiteX128" fmla="*/ 4913832 w 7093010"/>
                  <a:gd name="connsiteY128" fmla="*/ 282011 h 521294"/>
                  <a:gd name="connsiteX129" fmla="*/ 4965107 w 7093010"/>
                  <a:gd name="connsiteY129" fmla="*/ 350378 h 521294"/>
                  <a:gd name="connsiteX130" fmla="*/ 5076202 w 7093010"/>
                  <a:gd name="connsiteY130" fmla="*/ 264920 h 521294"/>
                  <a:gd name="connsiteX131" fmla="*/ 5101840 w 7093010"/>
                  <a:gd name="connsiteY131" fmla="*/ 179462 h 521294"/>
                  <a:gd name="connsiteX132" fmla="*/ 5118931 w 7093010"/>
                  <a:gd name="connsiteY132" fmla="*/ 153824 h 521294"/>
                  <a:gd name="connsiteX133" fmla="*/ 5136023 w 7093010"/>
                  <a:gd name="connsiteY133" fmla="*/ 188008 h 521294"/>
                  <a:gd name="connsiteX134" fmla="*/ 5204389 w 7093010"/>
                  <a:gd name="connsiteY134" fmla="*/ 136733 h 521294"/>
                  <a:gd name="connsiteX135" fmla="*/ 5238572 w 7093010"/>
                  <a:gd name="connsiteY135" fmla="*/ 213645 h 521294"/>
                  <a:gd name="connsiteX136" fmla="*/ 5272756 w 7093010"/>
                  <a:gd name="connsiteY136" fmla="*/ 264920 h 521294"/>
                  <a:gd name="connsiteX137" fmla="*/ 5306939 w 7093010"/>
                  <a:gd name="connsiteY137" fmla="*/ 230737 h 521294"/>
                  <a:gd name="connsiteX138" fmla="*/ 5315485 w 7093010"/>
                  <a:gd name="connsiteY138" fmla="*/ 205099 h 521294"/>
                  <a:gd name="connsiteX139" fmla="*/ 5324030 w 7093010"/>
                  <a:gd name="connsiteY139" fmla="*/ 230737 h 521294"/>
                  <a:gd name="connsiteX140" fmla="*/ 5332576 w 7093010"/>
                  <a:gd name="connsiteY140" fmla="*/ 273466 h 521294"/>
                  <a:gd name="connsiteX141" fmla="*/ 5383851 w 7093010"/>
                  <a:gd name="connsiteY141" fmla="*/ 196553 h 521294"/>
                  <a:gd name="connsiteX142" fmla="*/ 5452217 w 7093010"/>
                  <a:gd name="connsiteY142" fmla="*/ 153824 h 521294"/>
                  <a:gd name="connsiteX143" fmla="*/ 5520584 w 7093010"/>
                  <a:gd name="connsiteY143" fmla="*/ 145279 h 521294"/>
                  <a:gd name="connsiteX144" fmla="*/ 5537675 w 7093010"/>
                  <a:gd name="connsiteY144" fmla="*/ 222191 h 521294"/>
                  <a:gd name="connsiteX145" fmla="*/ 5546221 w 7093010"/>
                  <a:gd name="connsiteY145" fmla="*/ 324740 h 521294"/>
                  <a:gd name="connsiteX146" fmla="*/ 5580404 w 7093010"/>
                  <a:gd name="connsiteY146" fmla="*/ 264920 h 521294"/>
                  <a:gd name="connsiteX147" fmla="*/ 5640225 w 7093010"/>
                  <a:gd name="connsiteY147" fmla="*/ 153824 h 521294"/>
                  <a:gd name="connsiteX148" fmla="*/ 5674408 w 7093010"/>
                  <a:gd name="connsiteY148" fmla="*/ 128187 h 521294"/>
                  <a:gd name="connsiteX149" fmla="*/ 5700045 w 7093010"/>
                  <a:gd name="connsiteY149" fmla="*/ 111096 h 521294"/>
                  <a:gd name="connsiteX150" fmla="*/ 5725683 w 7093010"/>
                  <a:gd name="connsiteY150" fmla="*/ 102550 h 521294"/>
                  <a:gd name="connsiteX151" fmla="*/ 5759866 w 7093010"/>
                  <a:gd name="connsiteY151" fmla="*/ 222191 h 521294"/>
                  <a:gd name="connsiteX152" fmla="*/ 5776957 w 7093010"/>
                  <a:gd name="connsiteY152" fmla="*/ 273466 h 521294"/>
                  <a:gd name="connsiteX153" fmla="*/ 5802595 w 7093010"/>
                  <a:gd name="connsiteY153" fmla="*/ 350378 h 521294"/>
                  <a:gd name="connsiteX154" fmla="*/ 5862415 w 7093010"/>
                  <a:gd name="connsiteY154" fmla="*/ 239282 h 521294"/>
                  <a:gd name="connsiteX155" fmla="*/ 5905144 w 7093010"/>
                  <a:gd name="connsiteY155" fmla="*/ 179462 h 521294"/>
                  <a:gd name="connsiteX156" fmla="*/ 5930782 w 7093010"/>
                  <a:gd name="connsiteY156" fmla="*/ 136733 h 521294"/>
                  <a:gd name="connsiteX157" fmla="*/ 5956419 w 7093010"/>
                  <a:gd name="connsiteY157" fmla="*/ 170916 h 521294"/>
                  <a:gd name="connsiteX158" fmla="*/ 5973511 w 7093010"/>
                  <a:gd name="connsiteY158" fmla="*/ 222191 h 521294"/>
                  <a:gd name="connsiteX159" fmla="*/ 5999148 w 7093010"/>
                  <a:gd name="connsiteY159" fmla="*/ 282011 h 521294"/>
                  <a:gd name="connsiteX160" fmla="*/ 6033331 w 7093010"/>
                  <a:gd name="connsiteY160" fmla="*/ 273466 h 521294"/>
                  <a:gd name="connsiteX161" fmla="*/ 6084606 w 7093010"/>
                  <a:gd name="connsiteY161" fmla="*/ 213645 h 521294"/>
                  <a:gd name="connsiteX162" fmla="*/ 6118789 w 7093010"/>
                  <a:gd name="connsiteY162" fmla="*/ 188008 h 521294"/>
                  <a:gd name="connsiteX163" fmla="*/ 6135881 w 7093010"/>
                  <a:gd name="connsiteY163" fmla="*/ 145279 h 521294"/>
                  <a:gd name="connsiteX164" fmla="*/ 6170064 w 7093010"/>
                  <a:gd name="connsiteY164" fmla="*/ 136733 h 521294"/>
                  <a:gd name="connsiteX165" fmla="*/ 6195701 w 7093010"/>
                  <a:gd name="connsiteY165" fmla="*/ 119641 h 521294"/>
                  <a:gd name="connsiteX166" fmla="*/ 6221339 w 7093010"/>
                  <a:gd name="connsiteY166" fmla="*/ 162370 h 521294"/>
                  <a:gd name="connsiteX167" fmla="*/ 6255522 w 7093010"/>
                  <a:gd name="connsiteY167" fmla="*/ 358924 h 521294"/>
                  <a:gd name="connsiteX168" fmla="*/ 6281159 w 7093010"/>
                  <a:gd name="connsiteY168" fmla="*/ 495656 h 521294"/>
                  <a:gd name="connsiteX169" fmla="*/ 6306797 w 7093010"/>
                  <a:gd name="connsiteY169" fmla="*/ 521294 h 521294"/>
                  <a:gd name="connsiteX170" fmla="*/ 6349526 w 7093010"/>
                  <a:gd name="connsiteY170" fmla="*/ 461473 h 521294"/>
                  <a:gd name="connsiteX171" fmla="*/ 6366617 w 7093010"/>
                  <a:gd name="connsiteY171" fmla="*/ 410198 h 521294"/>
                  <a:gd name="connsiteX172" fmla="*/ 6426438 w 7093010"/>
                  <a:gd name="connsiteY172" fmla="*/ 290557 h 521294"/>
                  <a:gd name="connsiteX173" fmla="*/ 6434984 w 7093010"/>
                  <a:gd name="connsiteY173" fmla="*/ 256374 h 521294"/>
                  <a:gd name="connsiteX174" fmla="*/ 6452075 w 7093010"/>
                  <a:gd name="connsiteY174" fmla="*/ 230737 h 521294"/>
                  <a:gd name="connsiteX175" fmla="*/ 6469167 w 7093010"/>
                  <a:gd name="connsiteY175" fmla="*/ 196553 h 521294"/>
                  <a:gd name="connsiteX176" fmla="*/ 6511896 w 7093010"/>
                  <a:gd name="connsiteY176" fmla="*/ 350378 h 521294"/>
                  <a:gd name="connsiteX177" fmla="*/ 6528987 w 7093010"/>
                  <a:gd name="connsiteY177" fmla="*/ 324740 h 521294"/>
                  <a:gd name="connsiteX178" fmla="*/ 6588808 w 7093010"/>
                  <a:gd name="connsiteY178" fmla="*/ 247828 h 521294"/>
                  <a:gd name="connsiteX179" fmla="*/ 6631537 w 7093010"/>
                  <a:gd name="connsiteY179" fmla="*/ 196553 h 521294"/>
                  <a:gd name="connsiteX180" fmla="*/ 6674266 w 7093010"/>
                  <a:gd name="connsiteY180" fmla="*/ 247828 h 521294"/>
                  <a:gd name="connsiteX181" fmla="*/ 6708449 w 7093010"/>
                  <a:gd name="connsiteY181" fmla="*/ 239282 h 521294"/>
                  <a:gd name="connsiteX182" fmla="*/ 6734086 w 7093010"/>
                  <a:gd name="connsiteY182" fmla="*/ 179462 h 521294"/>
                  <a:gd name="connsiteX183" fmla="*/ 6742632 w 7093010"/>
                  <a:gd name="connsiteY183" fmla="*/ 153824 h 521294"/>
                  <a:gd name="connsiteX184" fmla="*/ 6768270 w 7093010"/>
                  <a:gd name="connsiteY184" fmla="*/ 136733 h 521294"/>
                  <a:gd name="connsiteX185" fmla="*/ 6810999 w 7093010"/>
                  <a:gd name="connsiteY185" fmla="*/ 111096 h 521294"/>
                  <a:gd name="connsiteX186" fmla="*/ 6836636 w 7093010"/>
                  <a:gd name="connsiteY186" fmla="*/ 94004 h 521294"/>
                  <a:gd name="connsiteX187" fmla="*/ 6862273 w 7093010"/>
                  <a:gd name="connsiteY187" fmla="*/ 102550 h 521294"/>
                  <a:gd name="connsiteX188" fmla="*/ 6887911 w 7093010"/>
                  <a:gd name="connsiteY188" fmla="*/ 119641 h 521294"/>
                  <a:gd name="connsiteX189" fmla="*/ 6939185 w 7093010"/>
                  <a:gd name="connsiteY189" fmla="*/ 59821 h 521294"/>
                  <a:gd name="connsiteX190" fmla="*/ 6999006 w 7093010"/>
                  <a:gd name="connsiteY190" fmla="*/ 162370 h 521294"/>
                  <a:gd name="connsiteX191" fmla="*/ 7007552 w 7093010"/>
                  <a:gd name="connsiteY191" fmla="*/ 205099 h 521294"/>
                  <a:gd name="connsiteX192" fmla="*/ 7033189 w 7093010"/>
                  <a:gd name="connsiteY192" fmla="*/ 213645 h 521294"/>
                  <a:gd name="connsiteX193" fmla="*/ 7067372 w 7093010"/>
                  <a:gd name="connsiteY193" fmla="*/ 162370 h 521294"/>
                  <a:gd name="connsiteX194" fmla="*/ 7093010 w 7093010"/>
                  <a:gd name="connsiteY194" fmla="*/ 128187 h 521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</a:cxnLst>
                <a:rect l="l" t="t" r="r" b="b"/>
                <a:pathLst>
                  <a:path w="7093010" h="521294">
                    <a:moveTo>
                      <a:pt x="0" y="145279"/>
                    </a:moveTo>
                    <a:cubicBezTo>
                      <a:pt x="14243" y="142430"/>
                      <a:pt x="28382" y="138998"/>
                      <a:pt x="42729" y="136733"/>
                    </a:cubicBezTo>
                    <a:cubicBezTo>
                      <a:pt x="82522" y="130450"/>
                      <a:pt x="123156" y="128868"/>
                      <a:pt x="162371" y="119641"/>
                    </a:cubicBezTo>
                    <a:cubicBezTo>
                      <a:pt x="172369" y="117289"/>
                      <a:pt x="178822" y="107143"/>
                      <a:pt x="188008" y="102550"/>
                    </a:cubicBezTo>
                    <a:cubicBezTo>
                      <a:pt x="196065" y="98522"/>
                      <a:pt x="205099" y="96853"/>
                      <a:pt x="213645" y="94004"/>
                    </a:cubicBezTo>
                    <a:cubicBezTo>
                      <a:pt x="243697" y="99013"/>
                      <a:pt x="274263" y="98941"/>
                      <a:pt x="299103" y="119641"/>
                    </a:cubicBezTo>
                    <a:cubicBezTo>
                      <a:pt x="306993" y="126216"/>
                      <a:pt x="310498" y="136733"/>
                      <a:pt x="316195" y="145279"/>
                    </a:cubicBezTo>
                    <a:cubicBezTo>
                      <a:pt x="330438" y="142430"/>
                      <a:pt x="345324" y="141833"/>
                      <a:pt x="358924" y="136733"/>
                    </a:cubicBezTo>
                    <a:cubicBezTo>
                      <a:pt x="368541" y="133127"/>
                      <a:pt x="375644" y="124737"/>
                      <a:pt x="384561" y="119641"/>
                    </a:cubicBezTo>
                    <a:cubicBezTo>
                      <a:pt x="395622" y="113321"/>
                      <a:pt x="407608" y="108737"/>
                      <a:pt x="418744" y="102550"/>
                    </a:cubicBezTo>
                    <a:cubicBezTo>
                      <a:pt x="433264" y="94483"/>
                      <a:pt x="446051" y="83081"/>
                      <a:pt x="461473" y="76912"/>
                    </a:cubicBezTo>
                    <a:cubicBezTo>
                      <a:pt x="474959" y="71518"/>
                      <a:pt x="489959" y="71215"/>
                      <a:pt x="504202" y="68367"/>
                    </a:cubicBezTo>
                    <a:cubicBezTo>
                      <a:pt x="512748" y="62670"/>
                      <a:pt x="519672" y="49823"/>
                      <a:pt x="529840" y="51275"/>
                    </a:cubicBezTo>
                    <a:cubicBezTo>
                      <a:pt x="580191" y="58467"/>
                      <a:pt x="553851" y="78484"/>
                      <a:pt x="572569" y="102550"/>
                    </a:cubicBezTo>
                    <a:cubicBezTo>
                      <a:pt x="587408" y="121629"/>
                      <a:pt x="623843" y="153824"/>
                      <a:pt x="623843" y="153824"/>
                    </a:cubicBezTo>
                    <a:cubicBezTo>
                      <a:pt x="627739" y="165512"/>
                      <a:pt x="645223" y="219636"/>
                      <a:pt x="649481" y="222191"/>
                    </a:cubicBezTo>
                    <a:cubicBezTo>
                      <a:pt x="658288" y="227475"/>
                      <a:pt x="667389" y="211862"/>
                      <a:pt x="675118" y="205099"/>
                    </a:cubicBezTo>
                    <a:cubicBezTo>
                      <a:pt x="690277" y="191835"/>
                      <a:pt x="702688" y="175634"/>
                      <a:pt x="717847" y="162370"/>
                    </a:cubicBezTo>
                    <a:cubicBezTo>
                      <a:pt x="725577" y="155607"/>
                      <a:pt x="735595" y="151854"/>
                      <a:pt x="743485" y="145279"/>
                    </a:cubicBezTo>
                    <a:cubicBezTo>
                      <a:pt x="752769" y="137542"/>
                      <a:pt x="759288" y="126666"/>
                      <a:pt x="769122" y="119641"/>
                    </a:cubicBezTo>
                    <a:cubicBezTo>
                      <a:pt x="779488" y="112236"/>
                      <a:pt x="791911" y="108247"/>
                      <a:pt x="803305" y="102550"/>
                    </a:cubicBezTo>
                    <a:cubicBezTo>
                      <a:pt x="803348" y="102636"/>
                      <a:pt x="830779" y="161028"/>
                      <a:pt x="837488" y="162370"/>
                    </a:cubicBezTo>
                    <a:cubicBezTo>
                      <a:pt x="847559" y="164384"/>
                      <a:pt x="855449" y="152103"/>
                      <a:pt x="863126" y="145279"/>
                    </a:cubicBezTo>
                    <a:cubicBezTo>
                      <a:pt x="909131" y="104386"/>
                      <a:pt x="908937" y="101288"/>
                      <a:pt x="940038" y="59821"/>
                    </a:cubicBezTo>
                    <a:cubicBezTo>
                      <a:pt x="985616" y="128190"/>
                      <a:pt x="916485" y="42938"/>
                      <a:pt x="999858" y="51275"/>
                    </a:cubicBezTo>
                    <a:cubicBezTo>
                      <a:pt x="1019994" y="53289"/>
                      <a:pt x="1046637" y="101708"/>
                      <a:pt x="1059679" y="119641"/>
                    </a:cubicBezTo>
                    <a:cubicBezTo>
                      <a:pt x="1076434" y="142679"/>
                      <a:pt x="1110954" y="188008"/>
                      <a:pt x="1110954" y="188008"/>
                    </a:cubicBezTo>
                    <a:cubicBezTo>
                      <a:pt x="1190394" y="172120"/>
                      <a:pt x="1139981" y="189008"/>
                      <a:pt x="1239141" y="111096"/>
                    </a:cubicBezTo>
                    <a:cubicBezTo>
                      <a:pt x="1250341" y="102296"/>
                      <a:pt x="1273324" y="85458"/>
                      <a:pt x="1273324" y="85458"/>
                    </a:cubicBezTo>
                    <a:cubicBezTo>
                      <a:pt x="1290416" y="91155"/>
                      <a:pt x="1310378" y="91489"/>
                      <a:pt x="1324599" y="102550"/>
                    </a:cubicBezTo>
                    <a:cubicBezTo>
                      <a:pt x="1337710" y="112748"/>
                      <a:pt x="1341433" y="131194"/>
                      <a:pt x="1350236" y="145279"/>
                    </a:cubicBezTo>
                    <a:cubicBezTo>
                      <a:pt x="1355680" y="153989"/>
                      <a:pt x="1359308" y="164500"/>
                      <a:pt x="1367328" y="170916"/>
                    </a:cubicBezTo>
                    <a:cubicBezTo>
                      <a:pt x="1374362" y="176543"/>
                      <a:pt x="1384419" y="176613"/>
                      <a:pt x="1392965" y="179462"/>
                    </a:cubicBezTo>
                    <a:cubicBezTo>
                      <a:pt x="1401511" y="176613"/>
                      <a:pt x="1411492" y="176446"/>
                      <a:pt x="1418602" y="170916"/>
                    </a:cubicBezTo>
                    <a:cubicBezTo>
                      <a:pt x="1437682" y="156076"/>
                      <a:pt x="1469877" y="119641"/>
                      <a:pt x="1469877" y="119641"/>
                    </a:cubicBezTo>
                    <a:cubicBezTo>
                      <a:pt x="1472726" y="111095"/>
                      <a:pt x="1472053" y="100374"/>
                      <a:pt x="1478423" y="94004"/>
                    </a:cubicBezTo>
                    <a:cubicBezTo>
                      <a:pt x="1484793" y="87634"/>
                      <a:pt x="1495267" y="87412"/>
                      <a:pt x="1504060" y="85458"/>
                    </a:cubicBezTo>
                    <a:cubicBezTo>
                      <a:pt x="1520975" y="81699"/>
                      <a:pt x="1538243" y="79761"/>
                      <a:pt x="1555335" y="76912"/>
                    </a:cubicBezTo>
                    <a:cubicBezTo>
                      <a:pt x="1566729" y="94004"/>
                      <a:pt x="1578949" y="110573"/>
                      <a:pt x="1589518" y="128187"/>
                    </a:cubicBezTo>
                    <a:cubicBezTo>
                      <a:pt x="1601606" y="148333"/>
                      <a:pt x="1616266" y="189118"/>
                      <a:pt x="1632247" y="205099"/>
                    </a:cubicBezTo>
                    <a:cubicBezTo>
                      <a:pt x="1638617" y="211469"/>
                      <a:pt x="1649339" y="210796"/>
                      <a:pt x="1657885" y="213645"/>
                    </a:cubicBezTo>
                    <a:cubicBezTo>
                      <a:pt x="1660733" y="205099"/>
                      <a:pt x="1660061" y="194378"/>
                      <a:pt x="1666430" y="188008"/>
                    </a:cubicBezTo>
                    <a:cubicBezTo>
                      <a:pt x="1691070" y="163367"/>
                      <a:pt x="1712957" y="161421"/>
                      <a:pt x="1743342" y="153824"/>
                    </a:cubicBezTo>
                    <a:cubicBezTo>
                      <a:pt x="1754052" y="169889"/>
                      <a:pt x="1767928" y="199889"/>
                      <a:pt x="1794617" y="196553"/>
                    </a:cubicBezTo>
                    <a:cubicBezTo>
                      <a:pt x="1808750" y="194786"/>
                      <a:pt x="1816587" y="178244"/>
                      <a:pt x="1828800" y="170916"/>
                    </a:cubicBezTo>
                    <a:cubicBezTo>
                      <a:pt x="1861295" y="151419"/>
                      <a:pt x="1888424" y="141939"/>
                      <a:pt x="1922804" y="128187"/>
                    </a:cubicBezTo>
                    <a:cubicBezTo>
                      <a:pt x="1931350" y="131036"/>
                      <a:pt x="1940947" y="131736"/>
                      <a:pt x="1948442" y="136733"/>
                    </a:cubicBezTo>
                    <a:cubicBezTo>
                      <a:pt x="1958498" y="143437"/>
                      <a:pt x="1966828" y="152702"/>
                      <a:pt x="1974079" y="162370"/>
                    </a:cubicBezTo>
                    <a:cubicBezTo>
                      <a:pt x="1998296" y="194660"/>
                      <a:pt x="1997747" y="199192"/>
                      <a:pt x="2008262" y="230737"/>
                    </a:cubicBezTo>
                    <a:cubicBezTo>
                      <a:pt x="2025354" y="222191"/>
                      <a:pt x="2044857" y="217332"/>
                      <a:pt x="2059537" y="205099"/>
                    </a:cubicBezTo>
                    <a:cubicBezTo>
                      <a:pt x="2079713" y="188286"/>
                      <a:pt x="2095281" y="166457"/>
                      <a:pt x="2110812" y="145279"/>
                    </a:cubicBezTo>
                    <a:cubicBezTo>
                      <a:pt x="2147980" y="94596"/>
                      <a:pt x="2154834" y="63708"/>
                      <a:pt x="2196270" y="17092"/>
                    </a:cubicBezTo>
                    <a:cubicBezTo>
                      <a:pt x="2203093" y="9416"/>
                      <a:pt x="2213361" y="5697"/>
                      <a:pt x="2221907" y="0"/>
                    </a:cubicBezTo>
                    <a:cubicBezTo>
                      <a:pt x="2251258" y="88055"/>
                      <a:pt x="2240990" y="50695"/>
                      <a:pt x="2256090" y="111096"/>
                    </a:cubicBezTo>
                    <a:cubicBezTo>
                      <a:pt x="2273087" y="99765"/>
                      <a:pt x="2286136" y="81321"/>
                      <a:pt x="2307365" y="102550"/>
                    </a:cubicBezTo>
                    <a:cubicBezTo>
                      <a:pt x="2313735" y="108920"/>
                      <a:pt x="2313062" y="119641"/>
                      <a:pt x="2315911" y="128187"/>
                    </a:cubicBezTo>
                    <a:cubicBezTo>
                      <a:pt x="2330154" y="119641"/>
                      <a:pt x="2343784" y="109978"/>
                      <a:pt x="2358640" y="102550"/>
                    </a:cubicBezTo>
                    <a:cubicBezTo>
                      <a:pt x="2366697" y="98522"/>
                      <a:pt x="2377907" y="87634"/>
                      <a:pt x="2384277" y="94004"/>
                    </a:cubicBezTo>
                    <a:cubicBezTo>
                      <a:pt x="2394548" y="104275"/>
                      <a:pt x="2384766" y="124647"/>
                      <a:pt x="2392823" y="136733"/>
                    </a:cubicBezTo>
                    <a:cubicBezTo>
                      <a:pt x="2402941" y="151909"/>
                      <a:pt x="2421309" y="159522"/>
                      <a:pt x="2435552" y="170916"/>
                    </a:cubicBezTo>
                    <a:cubicBezTo>
                      <a:pt x="2438401" y="182310"/>
                      <a:pt x="2439471" y="194304"/>
                      <a:pt x="2444098" y="205099"/>
                    </a:cubicBezTo>
                    <a:cubicBezTo>
                      <a:pt x="2448144" y="214539"/>
                      <a:pt x="2451749" y="234783"/>
                      <a:pt x="2461189" y="230737"/>
                    </a:cubicBezTo>
                    <a:cubicBezTo>
                      <a:pt x="2481638" y="221973"/>
                      <a:pt x="2489675" y="196554"/>
                      <a:pt x="2503918" y="179462"/>
                    </a:cubicBezTo>
                    <a:cubicBezTo>
                      <a:pt x="2507148" y="166541"/>
                      <a:pt x="2512645" y="119641"/>
                      <a:pt x="2538101" y="119641"/>
                    </a:cubicBezTo>
                    <a:cubicBezTo>
                      <a:pt x="2547109" y="119641"/>
                      <a:pt x="2542618" y="137222"/>
                      <a:pt x="2546647" y="145279"/>
                    </a:cubicBezTo>
                    <a:cubicBezTo>
                      <a:pt x="2554075" y="160136"/>
                      <a:pt x="2563739" y="173765"/>
                      <a:pt x="2572285" y="188008"/>
                    </a:cubicBezTo>
                    <a:cubicBezTo>
                      <a:pt x="2580831" y="185159"/>
                      <a:pt x="2590101" y="183931"/>
                      <a:pt x="2597922" y="179462"/>
                    </a:cubicBezTo>
                    <a:cubicBezTo>
                      <a:pt x="2610288" y="172395"/>
                      <a:pt x="2618410" y="149911"/>
                      <a:pt x="2632105" y="153824"/>
                    </a:cubicBezTo>
                    <a:cubicBezTo>
                      <a:pt x="2648076" y="158387"/>
                      <a:pt x="2645997" y="184808"/>
                      <a:pt x="2657742" y="196553"/>
                    </a:cubicBezTo>
                    <a:cubicBezTo>
                      <a:pt x="2664112" y="202923"/>
                      <a:pt x="2674834" y="202250"/>
                      <a:pt x="2683380" y="205099"/>
                    </a:cubicBezTo>
                    <a:cubicBezTo>
                      <a:pt x="2717563" y="170916"/>
                      <a:pt x="2744476" y="127422"/>
                      <a:pt x="2785929" y="102550"/>
                    </a:cubicBezTo>
                    <a:cubicBezTo>
                      <a:pt x="2814415" y="85458"/>
                      <a:pt x="2842027" y="66818"/>
                      <a:pt x="2871387" y="51275"/>
                    </a:cubicBezTo>
                    <a:cubicBezTo>
                      <a:pt x="2890560" y="41125"/>
                      <a:pt x="2911458" y="34615"/>
                      <a:pt x="2931208" y="25638"/>
                    </a:cubicBezTo>
                    <a:cubicBezTo>
                      <a:pt x="2942805" y="20366"/>
                      <a:pt x="2953997" y="14243"/>
                      <a:pt x="2965391" y="8546"/>
                    </a:cubicBezTo>
                    <a:cubicBezTo>
                      <a:pt x="2973937" y="11395"/>
                      <a:pt x="2986031" y="9597"/>
                      <a:pt x="2991028" y="17092"/>
                    </a:cubicBezTo>
                    <a:cubicBezTo>
                      <a:pt x="2999085" y="29178"/>
                      <a:pt x="2996051" y="45730"/>
                      <a:pt x="2999574" y="59821"/>
                    </a:cubicBezTo>
                    <a:cubicBezTo>
                      <a:pt x="3001759" y="68560"/>
                      <a:pt x="3001750" y="79088"/>
                      <a:pt x="3008120" y="85458"/>
                    </a:cubicBezTo>
                    <a:cubicBezTo>
                      <a:pt x="3014490" y="91828"/>
                      <a:pt x="3025211" y="91155"/>
                      <a:pt x="3033757" y="94004"/>
                    </a:cubicBezTo>
                    <a:cubicBezTo>
                      <a:pt x="3045152" y="105398"/>
                      <a:pt x="3057454" y="115952"/>
                      <a:pt x="3067941" y="128187"/>
                    </a:cubicBezTo>
                    <a:cubicBezTo>
                      <a:pt x="3074625" y="135985"/>
                      <a:pt x="3078348" y="146026"/>
                      <a:pt x="3085032" y="153824"/>
                    </a:cubicBezTo>
                    <a:cubicBezTo>
                      <a:pt x="3095519" y="166059"/>
                      <a:pt x="3107821" y="176613"/>
                      <a:pt x="3119215" y="188008"/>
                    </a:cubicBezTo>
                    <a:cubicBezTo>
                      <a:pt x="3128056" y="214531"/>
                      <a:pt x="3124984" y="233513"/>
                      <a:pt x="3161944" y="196553"/>
                    </a:cubicBezTo>
                    <a:cubicBezTo>
                      <a:pt x="3184910" y="173587"/>
                      <a:pt x="3205055" y="147492"/>
                      <a:pt x="3221765" y="119641"/>
                    </a:cubicBezTo>
                    <a:cubicBezTo>
                      <a:pt x="3230311" y="105398"/>
                      <a:pt x="3235657" y="88657"/>
                      <a:pt x="3247402" y="76912"/>
                    </a:cubicBezTo>
                    <a:cubicBezTo>
                      <a:pt x="3253772" y="70542"/>
                      <a:pt x="3264494" y="71215"/>
                      <a:pt x="3273040" y="68367"/>
                    </a:cubicBezTo>
                    <a:cubicBezTo>
                      <a:pt x="3292631" y="127145"/>
                      <a:pt x="3265835" y="55761"/>
                      <a:pt x="3307223" y="128187"/>
                    </a:cubicBezTo>
                    <a:cubicBezTo>
                      <a:pt x="3332626" y="172641"/>
                      <a:pt x="3292757" y="138482"/>
                      <a:pt x="3341406" y="170916"/>
                    </a:cubicBezTo>
                    <a:cubicBezTo>
                      <a:pt x="3349952" y="168067"/>
                      <a:pt x="3360204" y="168232"/>
                      <a:pt x="3367043" y="162370"/>
                    </a:cubicBezTo>
                    <a:cubicBezTo>
                      <a:pt x="3380892" y="150500"/>
                      <a:pt x="3383235" y="122640"/>
                      <a:pt x="3401227" y="119641"/>
                    </a:cubicBezTo>
                    <a:cubicBezTo>
                      <a:pt x="3413793" y="117547"/>
                      <a:pt x="3412218" y="142640"/>
                      <a:pt x="3418318" y="153824"/>
                    </a:cubicBezTo>
                    <a:cubicBezTo>
                      <a:pt x="3429315" y="173986"/>
                      <a:pt x="3441107" y="193705"/>
                      <a:pt x="3452501" y="213645"/>
                    </a:cubicBezTo>
                    <a:cubicBezTo>
                      <a:pt x="3455350" y="230737"/>
                      <a:pt x="3453298" y="249422"/>
                      <a:pt x="3461047" y="264920"/>
                    </a:cubicBezTo>
                    <a:cubicBezTo>
                      <a:pt x="3465640" y="274106"/>
                      <a:pt x="3478271" y="287901"/>
                      <a:pt x="3486685" y="282011"/>
                    </a:cubicBezTo>
                    <a:cubicBezTo>
                      <a:pt x="3534010" y="248883"/>
                      <a:pt x="3563436" y="161345"/>
                      <a:pt x="3597780" y="119641"/>
                    </a:cubicBezTo>
                    <a:cubicBezTo>
                      <a:pt x="3629670" y="80917"/>
                      <a:pt x="3676182" y="53131"/>
                      <a:pt x="3717421" y="25638"/>
                    </a:cubicBezTo>
                    <a:cubicBezTo>
                      <a:pt x="3723118" y="37032"/>
                      <a:pt x="3730485" y="47735"/>
                      <a:pt x="3734513" y="59821"/>
                    </a:cubicBezTo>
                    <a:cubicBezTo>
                      <a:pt x="3739106" y="73601"/>
                      <a:pt x="3732787" y="92279"/>
                      <a:pt x="3743058" y="102550"/>
                    </a:cubicBezTo>
                    <a:cubicBezTo>
                      <a:pt x="3749428" y="108920"/>
                      <a:pt x="3760150" y="96853"/>
                      <a:pt x="3768696" y="94004"/>
                    </a:cubicBezTo>
                    <a:cubicBezTo>
                      <a:pt x="3777242" y="85458"/>
                      <a:pt x="3785787" y="59821"/>
                      <a:pt x="3794333" y="68367"/>
                    </a:cubicBezTo>
                    <a:cubicBezTo>
                      <a:pt x="3810943" y="84977"/>
                      <a:pt x="3807343" y="113600"/>
                      <a:pt x="3811425" y="136733"/>
                    </a:cubicBezTo>
                    <a:cubicBezTo>
                      <a:pt x="3816634" y="166251"/>
                      <a:pt x="3815534" y="234781"/>
                      <a:pt x="3837062" y="264920"/>
                    </a:cubicBezTo>
                    <a:cubicBezTo>
                      <a:pt x="3842298" y="272250"/>
                      <a:pt x="3854154" y="270617"/>
                      <a:pt x="3862700" y="273466"/>
                    </a:cubicBezTo>
                    <a:cubicBezTo>
                      <a:pt x="3938748" y="258256"/>
                      <a:pt x="3881713" y="281869"/>
                      <a:pt x="3931066" y="205099"/>
                    </a:cubicBezTo>
                    <a:cubicBezTo>
                      <a:pt x="3945268" y="183007"/>
                      <a:pt x="3966425" y="166169"/>
                      <a:pt x="3982341" y="145279"/>
                    </a:cubicBezTo>
                    <a:cubicBezTo>
                      <a:pt x="4086157" y="9021"/>
                      <a:pt x="4024425" y="54555"/>
                      <a:pt x="4093436" y="8546"/>
                    </a:cubicBezTo>
                    <a:cubicBezTo>
                      <a:pt x="4101982" y="31335"/>
                      <a:pt x="4112387" y="53510"/>
                      <a:pt x="4119073" y="76912"/>
                    </a:cubicBezTo>
                    <a:cubicBezTo>
                      <a:pt x="4125264" y="98580"/>
                      <a:pt x="4125501" y="151706"/>
                      <a:pt x="4144711" y="170916"/>
                    </a:cubicBezTo>
                    <a:cubicBezTo>
                      <a:pt x="4153016" y="179221"/>
                      <a:pt x="4167500" y="176613"/>
                      <a:pt x="4178894" y="179462"/>
                    </a:cubicBezTo>
                    <a:cubicBezTo>
                      <a:pt x="4187440" y="173765"/>
                      <a:pt x="4197268" y="169633"/>
                      <a:pt x="4204531" y="162370"/>
                    </a:cubicBezTo>
                    <a:cubicBezTo>
                      <a:pt x="4214602" y="152299"/>
                      <a:pt x="4217430" y="134557"/>
                      <a:pt x="4230169" y="128187"/>
                    </a:cubicBezTo>
                    <a:cubicBezTo>
                      <a:pt x="4238226" y="124159"/>
                      <a:pt x="4247260" y="133884"/>
                      <a:pt x="4255806" y="136733"/>
                    </a:cubicBezTo>
                    <a:cubicBezTo>
                      <a:pt x="4256255" y="139876"/>
                      <a:pt x="4264690" y="232581"/>
                      <a:pt x="4281443" y="239282"/>
                    </a:cubicBezTo>
                    <a:cubicBezTo>
                      <a:pt x="4292664" y="243771"/>
                      <a:pt x="4298535" y="222191"/>
                      <a:pt x="4307081" y="213645"/>
                    </a:cubicBezTo>
                    <a:cubicBezTo>
                      <a:pt x="4311318" y="205171"/>
                      <a:pt x="4332487" y="153824"/>
                      <a:pt x="4349810" y="153824"/>
                    </a:cubicBezTo>
                    <a:cubicBezTo>
                      <a:pt x="4360081" y="153824"/>
                      <a:pt x="4361805" y="170544"/>
                      <a:pt x="4366901" y="179462"/>
                    </a:cubicBezTo>
                    <a:cubicBezTo>
                      <a:pt x="4386764" y="214222"/>
                      <a:pt x="4383192" y="210439"/>
                      <a:pt x="4392539" y="247828"/>
                    </a:cubicBezTo>
                    <a:cubicBezTo>
                      <a:pt x="4403933" y="244979"/>
                      <a:pt x="4417326" y="246329"/>
                      <a:pt x="4426722" y="239282"/>
                    </a:cubicBezTo>
                    <a:cubicBezTo>
                      <a:pt x="4450986" y="221083"/>
                      <a:pt x="4482408" y="158923"/>
                      <a:pt x="4495088" y="136733"/>
                    </a:cubicBezTo>
                    <a:cubicBezTo>
                      <a:pt x="4503634" y="150976"/>
                      <a:pt x="4513298" y="164605"/>
                      <a:pt x="4520726" y="179462"/>
                    </a:cubicBezTo>
                    <a:cubicBezTo>
                      <a:pt x="4533323" y="204655"/>
                      <a:pt x="4557249" y="271923"/>
                      <a:pt x="4580546" y="299103"/>
                    </a:cubicBezTo>
                    <a:cubicBezTo>
                      <a:pt x="4587230" y="306901"/>
                      <a:pt x="4597638" y="310498"/>
                      <a:pt x="4606184" y="316195"/>
                    </a:cubicBezTo>
                    <a:cubicBezTo>
                      <a:pt x="4617578" y="307649"/>
                      <a:pt x="4631098" y="301371"/>
                      <a:pt x="4640367" y="290557"/>
                    </a:cubicBezTo>
                    <a:cubicBezTo>
                      <a:pt x="4665582" y="261139"/>
                      <a:pt x="4708733" y="196553"/>
                      <a:pt x="4708733" y="196553"/>
                    </a:cubicBezTo>
                    <a:cubicBezTo>
                      <a:pt x="4723040" y="139327"/>
                      <a:pt x="4707866" y="161503"/>
                      <a:pt x="4751462" y="205099"/>
                    </a:cubicBezTo>
                    <a:cubicBezTo>
                      <a:pt x="4758725" y="212362"/>
                      <a:pt x="4768554" y="216494"/>
                      <a:pt x="4777100" y="222191"/>
                    </a:cubicBezTo>
                    <a:cubicBezTo>
                      <a:pt x="4844340" y="135739"/>
                      <a:pt x="4813954" y="168245"/>
                      <a:pt x="4862557" y="119641"/>
                    </a:cubicBezTo>
                    <a:cubicBezTo>
                      <a:pt x="4865406" y="131035"/>
                      <a:pt x="4868800" y="142307"/>
                      <a:pt x="4871103" y="153824"/>
                    </a:cubicBezTo>
                    <a:cubicBezTo>
                      <a:pt x="4877349" y="185054"/>
                      <a:pt x="4878124" y="217614"/>
                      <a:pt x="4888195" y="247828"/>
                    </a:cubicBezTo>
                    <a:cubicBezTo>
                      <a:pt x="4892699" y="261340"/>
                      <a:pt x="4907012" y="269507"/>
                      <a:pt x="4913832" y="282011"/>
                    </a:cubicBezTo>
                    <a:cubicBezTo>
                      <a:pt x="4952747" y="353354"/>
                      <a:pt x="4914850" y="333625"/>
                      <a:pt x="4965107" y="350378"/>
                    </a:cubicBezTo>
                    <a:cubicBezTo>
                      <a:pt x="5000827" y="328053"/>
                      <a:pt x="5051742" y="303356"/>
                      <a:pt x="5076202" y="264920"/>
                    </a:cubicBezTo>
                    <a:cubicBezTo>
                      <a:pt x="5101332" y="225430"/>
                      <a:pt x="5086106" y="216177"/>
                      <a:pt x="5101840" y="179462"/>
                    </a:cubicBezTo>
                    <a:cubicBezTo>
                      <a:pt x="5105886" y="170022"/>
                      <a:pt x="5113234" y="162370"/>
                      <a:pt x="5118931" y="153824"/>
                    </a:cubicBezTo>
                    <a:cubicBezTo>
                      <a:pt x="5124628" y="165219"/>
                      <a:pt x="5123382" y="186428"/>
                      <a:pt x="5136023" y="188008"/>
                    </a:cubicBezTo>
                    <a:cubicBezTo>
                      <a:pt x="5173230" y="192659"/>
                      <a:pt x="5189197" y="159522"/>
                      <a:pt x="5204389" y="136733"/>
                    </a:cubicBezTo>
                    <a:cubicBezTo>
                      <a:pt x="5229410" y="236812"/>
                      <a:pt x="5189291" y="90442"/>
                      <a:pt x="5238572" y="213645"/>
                    </a:cubicBezTo>
                    <a:cubicBezTo>
                      <a:pt x="5260783" y="269174"/>
                      <a:pt x="5225959" y="249321"/>
                      <a:pt x="5272756" y="264920"/>
                    </a:cubicBezTo>
                    <a:cubicBezTo>
                      <a:pt x="5284150" y="253526"/>
                      <a:pt x="5297573" y="243850"/>
                      <a:pt x="5306939" y="230737"/>
                    </a:cubicBezTo>
                    <a:cubicBezTo>
                      <a:pt x="5312175" y="223407"/>
                      <a:pt x="5306477" y="205099"/>
                      <a:pt x="5315485" y="205099"/>
                    </a:cubicBezTo>
                    <a:cubicBezTo>
                      <a:pt x="5324493" y="205099"/>
                      <a:pt x="5321845" y="221998"/>
                      <a:pt x="5324030" y="230737"/>
                    </a:cubicBezTo>
                    <a:cubicBezTo>
                      <a:pt x="5327553" y="244828"/>
                      <a:pt x="5329727" y="259223"/>
                      <a:pt x="5332576" y="273466"/>
                    </a:cubicBezTo>
                    <a:cubicBezTo>
                      <a:pt x="5415319" y="211407"/>
                      <a:pt x="5319062" y="293736"/>
                      <a:pt x="5383851" y="196553"/>
                    </a:cubicBezTo>
                    <a:cubicBezTo>
                      <a:pt x="5394944" y="179914"/>
                      <a:pt x="5435063" y="162401"/>
                      <a:pt x="5452217" y="153824"/>
                    </a:cubicBezTo>
                    <a:cubicBezTo>
                      <a:pt x="5496518" y="87373"/>
                      <a:pt x="5473568" y="86510"/>
                      <a:pt x="5520584" y="145279"/>
                    </a:cubicBezTo>
                    <a:cubicBezTo>
                      <a:pt x="5526281" y="170916"/>
                      <a:pt x="5533961" y="196192"/>
                      <a:pt x="5537675" y="222191"/>
                    </a:cubicBezTo>
                    <a:cubicBezTo>
                      <a:pt x="5542526" y="256148"/>
                      <a:pt x="5521966" y="300485"/>
                      <a:pt x="5546221" y="324740"/>
                    </a:cubicBezTo>
                    <a:cubicBezTo>
                      <a:pt x="5562460" y="340979"/>
                      <a:pt x="5569516" y="285141"/>
                      <a:pt x="5580404" y="264920"/>
                    </a:cubicBezTo>
                    <a:cubicBezTo>
                      <a:pt x="5664203" y="109294"/>
                      <a:pt x="5539005" y="330962"/>
                      <a:pt x="5640225" y="153824"/>
                    </a:cubicBezTo>
                    <a:cubicBezTo>
                      <a:pt x="5657899" y="65461"/>
                      <a:pt x="5631656" y="128187"/>
                      <a:pt x="5674408" y="128187"/>
                    </a:cubicBezTo>
                    <a:cubicBezTo>
                      <a:pt x="5684679" y="128187"/>
                      <a:pt x="5690859" y="115689"/>
                      <a:pt x="5700045" y="111096"/>
                    </a:cubicBezTo>
                    <a:cubicBezTo>
                      <a:pt x="5708102" y="107067"/>
                      <a:pt x="5717137" y="105399"/>
                      <a:pt x="5725683" y="102550"/>
                    </a:cubicBezTo>
                    <a:cubicBezTo>
                      <a:pt x="5775931" y="219795"/>
                      <a:pt x="5732768" y="104765"/>
                      <a:pt x="5759866" y="222191"/>
                    </a:cubicBezTo>
                    <a:cubicBezTo>
                      <a:pt x="5763917" y="239746"/>
                      <a:pt x="5772587" y="255988"/>
                      <a:pt x="5776957" y="273466"/>
                    </a:cubicBezTo>
                    <a:cubicBezTo>
                      <a:pt x="5795378" y="347151"/>
                      <a:pt x="5771039" y="303044"/>
                      <a:pt x="5802595" y="350378"/>
                    </a:cubicBezTo>
                    <a:cubicBezTo>
                      <a:pt x="5923338" y="169262"/>
                      <a:pt x="5749978" y="436047"/>
                      <a:pt x="5862415" y="239282"/>
                    </a:cubicBezTo>
                    <a:cubicBezTo>
                      <a:pt x="5874573" y="218006"/>
                      <a:pt x="5891551" y="199851"/>
                      <a:pt x="5905144" y="179462"/>
                    </a:cubicBezTo>
                    <a:cubicBezTo>
                      <a:pt x="5914358" y="165642"/>
                      <a:pt x="5922236" y="150976"/>
                      <a:pt x="5930782" y="136733"/>
                    </a:cubicBezTo>
                    <a:cubicBezTo>
                      <a:pt x="5939328" y="148127"/>
                      <a:pt x="5950049" y="158177"/>
                      <a:pt x="5956419" y="170916"/>
                    </a:cubicBezTo>
                    <a:cubicBezTo>
                      <a:pt x="5964476" y="187030"/>
                      <a:pt x="5967044" y="205376"/>
                      <a:pt x="5973511" y="222191"/>
                    </a:cubicBezTo>
                    <a:cubicBezTo>
                      <a:pt x="5981299" y="242439"/>
                      <a:pt x="5990602" y="262071"/>
                      <a:pt x="5999148" y="282011"/>
                    </a:cubicBezTo>
                    <a:cubicBezTo>
                      <a:pt x="6010542" y="279163"/>
                      <a:pt x="6023133" y="279293"/>
                      <a:pt x="6033331" y="273466"/>
                    </a:cubicBezTo>
                    <a:cubicBezTo>
                      <a:pt x="6055037" y="261062"/>
                      <a:pt x="6068219" y="230032"/>
                      <a:pt x="6084606" y="213645"/>
                    </a:cubicBezTo>
                    <a:cubicBezTo>
                      <a:pt x="6094677" y="203574"/>
                      <a:pt x="6107395" y="196554"/>
                      <a:pt x="6118789" y="188008"/>
                    </a:cubicBezTo>
                    <a:cubicBezTo>
                      <a:pt x="6124486" y="173765"/>
                      <a:pt x="6125034" y="156126"/>
                      <a:pt x="6135881" y="145279"/>
                    </a:cubicBezTo>
                    <a:cubicBezTo>
                      <a:pt x="6144186" y="136974"/>
                      <a:pt x="6159269" y="141360"/>
                      <a:pt x="6170064" y="136733"/>
                    </a:cubicBezTo>
                    <a:cubicBezTo>
                      <a:pt x="6179504" y="132687"/>
                      <a:pt x="6187155" y="125338"/>
                      <a:pt x="6195701" y="119641"/>
                    </a:cubicBezTo>
                    <a:cubicBezTo>
                      <a:pt x="6204247" y="133884"/>
                      <a:pt x="6215752" y="146728"/>
                      <a:pt x="6221339" y="162370"/>
                    </a:cubicBezTo>
                    <a:cubicBezTo>
                      <a:pt x="6235964" y="203320"/>
                      <a:pt x="6251904" y="328772"/>
                      <a:pt x="6255522" y="358924"/>
                    </a:cubicBezTo>
                    <a:cubicBezTo>
                      <a:pt x="6261501" y="408752"/>
                      <a:pt x="6254312" y="452700"/>
                      <a:pt x="6281159" y="495656"/>
                    </a:cubicBezTo>
                    <a:cubicBezTo>
                      <a:pt x="6287564" y="505905"/>
                      <a:pt x="6298251" y="512748"/>
                      <a:pt x="6306797" y="521294"/>
                    </a:cubicBezTo>
                    <a:cubicBezTo>
                      <a:pt x="6321040" y="501354"/>
                      <a:pt x="6337908" y="483049"/>
                      <a:pt x="6349526" y="461473"/>
                    </a:cubicBezTo>
                    <a:cubicBezTo>
                      <a:pt x="6358067" y="445610"/>
                      <a:pt x="6359926" y="426926"/>
                      <a:pt x="6366617" y="410198"/>
                    </a:cubicBezTo>
                    <a:cubicBezTo>
                      <a:pt x="6395267" y="338572"/>
                      <a:pt x="6393635" y="345227"/>
                      <a:pt x="6426438" y="290557"/>
                    </a:cubicBezTo>
                    <a:cubicBezTo>
                      <a:pt x="6429287" y="279163"/>
                      <a:pt x="6430357" y="267169"/>
                      <a:pt x="6434984" y="256374"/>
                    </a:cubicBezTo>
                    <a:cubicBezTo>
                      <a:pt x="6439030" y="246934"/>
                      <a:pt x="6446979" y="239654"/>
                      <a:pt x="6452075" y="230737"/>
                    </a:cubicBezTo>
                    <a:cubicBezTo>
                      <a:pt x="6458396" y="219676"/>
                      <a:pt x="6463470" y="207948"/>
                      <a:pt x="6469167" y="196553"/>
                    </a:cubicBezTo>
                    <a:cubicBezTo>
                      <a:pt x="6508829" y="315541"/>
                      <a:pt x="6497426" y="263561"/>
                      <a:pt x="6511896" y="350378"/>
                    </a:cubicBezTo>
                    <a:cubicBezTo>
                      <a:pt x="6517593" y="341832"/>
                      <a:pt x="6522825" y="332957"/>
                      <a:pt x="6528987" y="324740"/>
                    </a:cubicBezTo>
                    <a:cubicBezTo>
                      <a:pt x="6548474" y="298757"/>
                      <a:pt x="6570791" y="274852"/>
                      <a:pt x="6588808" y="247828"/>
                    </a:cubicBezTo>
                    <a:cubicBezTo>
                      <a:pt x="6612604" y="212135"/>
                      <a:pt x="6598638" y="229454"/>
                      <a:pt x="6631537" y="196553"/>
                    </a:cubicBezTo>
                    <a:cubicBezTo>
                      <a:pt x="6645780" y="213645"/>
                      <a:pt x="6654817" y="237023"/>
                      <a:pt x="6674266" y="247828"/>
                    </a:cubicBezTo>
                    <a:cubicBezTo>
                      <a:pt x="6684533" y="253532"/>
                      <a:pt x="6700715" y="248121"/>
                      <a:pt x="6708449" y="239282"/>
                    </a:cubicBezTo>
                    <a:cubicBezTo>
                      <a:pt x="6722735" y="222956"/>
                      <a:pt x="6726029" y="199604"/>
                      <a:pt x="6734086" y="179462"/>
                    </a:cubicBezTo>
                    <a:cubicBezTo>
                      <a:pt x="6737432" y="171098"/>
                      <a:pt x="6737004" y="160858"/>
                      <a:pt x="6742632" y="153824"/>
                    </a:cubicBezTo>
                    <a:cubicBezTo>
                      <a:pt x="6749048" y="145804"/>
                      <a:pt x="6759724" y="142430"/>
                      <a:pt x="6768270" y="136733"/>
                    </a:cubicBezTo>
                    <a:cubicBezTo>
                      <a:pt x="6813784" y="151905"/>
                      <a:pt x="6778860" y="149663"/>
                      <a:pt x="6810999" y="111096"/>
                    </a:cubicBezTo>
                    <a:cubicBezTo>
                      <a:pt x="6817574" y="103206"/>
                      <a:pt x="6828090" y="99701"/>
                      <a:pt x="6836636" y="94004"/>
                    </a:cubicBezTo>
                    <a:cubicBezTo>
                      <a:pt x="6845182" y="96853"/>
                      <a:pt x="6854216" y="98522"/>
                      <a:pt x="6862273" y="102550"/>
                    </a:cubicBezTo>
                    <a:cubicBezTo>
                      <a:pt x="6871460" y="107143"/>
                      <a:pt x="6878035" y="122463"/>
                      <a:pt x="6887911" y="119641"/>
                    </a:cubicBezTo>
                    <a:cubicBezTo>
                      <a:pt x="6904977" y="114765"/>
                      <a:pt x="6928694" y="75558"/>
                      <a:pt x="6939185" y="59821"/>
                    </a:cubicBezTo>
                    <a:cubicBezTo>
                      <a:pt x="6959125" y="94004"/>
                      <a:pt x="6991245" y="123565"/>
                      <a:pt x="6999006" y="162370"/>
                    </a:cubicBezTo>
                    <a:cubicBezTo>
                      <a:pt x="7001855" y="176613"/>
                      <a:pt x="6999495" y="193013"/>
                      <a:pt x="7007552" y="205099"/>
                    </a:cubicBezTo>
                    <a:cubicBezTo>
                      <a:pt x="7012549" y="212594"/>
                      <a:pt x="7024643" y="210796"/>
                      <a:pt x="7033189" y="213645"/>
                    </a:cubicBezTo>
                    <a:cubicBezTo>
                      <a:pt x="7044583" y="196553"/>
                      <a:pt x="7057396" y="180327"/>
                      <a:pt x="7067372" y="162370"/>
                    </a:cubicBezTo>
                    <a:cubicBezTo>
                      <a:pt x="7087680" y="125817"/>
                      <a:pt x="7060969" y="144208"/>
                      <a:pt x="7093010" y="128187"/>
                    </a:cubicBez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sv-SE" dirty="0"/>
              </a:p>
            </p:txBody>
          </p:sp>
          <p:cxnSp>
            <p:nvCxnSpPr>
              <p:cNvPr id="113" name="Straight Arrow Connector 112"/>
              <p:cNvCxnSpPr/>
              <p:nvPr/>
            </p:nvCxnSpPr>
            <p:spPr>
              <a:xfrm>
                <a:off x="2572052" y="5715000"/>
                <a:ext cx="0" cy="212631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4" name="TextBox 113"/>
              <p:cNvSpPr txBox="1"/>
              <p:nvPr/>
            </p:nvSpPr>
            <p:spPr>
              <a:xfrm>
                <a:off x="1203861" y="6116894"/>
                <a:ext cx="1028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800" dirty="0"/>
                  <a:t>Track Irregularities</a:t>
                </a:r>
              </a:p>
            </p:txBody>
          </p:sp>
          <p:grpSp>
            <p:nvGrpSpPr>
              <p:cNvPr id="115" name="Group 114"/>
              <p:cNvGrpSpPr/>
              <p:nvPr/>
            </p:nvGrpSpPr>
            <p:grpSpPr>
              <a:xfrm>
                <a:off x="3046511" y="4373535"/>
                <a:ext cx="434150" cy="264143"/>
                <a:chOff x="2945895" y="4654236"/>
                <a:chExt cx="434149" cy="264142"/>
              </a:xfrm>
            </p:grpSpPr>
            <p:sp>
              <p:nvSpPr>
                <p:cNvPr id="116" name="Rectangle 115"/>
                <p:cNvSpPr/>
                <p:nvPr/>
              </p:nvSpPr>
              <p:spPr>
                <a:xfrm>
                  <a:off x="2945895" y="4667404"/>
                  <a:ext cx="434149" cy="250974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sv-SE" dirty="0">
                    <a:solidFill>
                      <a:schemeClr val="tx1"/>
                    </a:solidFill>
                  </a:endParaRPr>
                </a:p>
              </p:txBody>
            </p:sp>
            <mc:AlternateContent xmlns:mc="http://schemas.openxmlformats.org/markup-compatibility/2006" xmlns:a14="http://schemas.microsoft.com/office/drawing/2010/main">
              <mc:Choice Requires="a14">
                <p:sp>
                  <p:nvSpPr>
                    <p:cNvPr id="117" name="TextBox 116"/>
                    <p:cNvSpPr txBox="1"/>
                    <p:nvPr/>
                  </p:nvSpPr>
                  <p:spPr>
                    <a:xfrm>
                      <a:off x="2945896" y="4654236"/>
                      <a:ext cx="408509" cy="246220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pPr/>
                      <a14:m>
                        <m:oMathPara xmlns:m="http://schemas.openxmlformats.org/officeDocument/2006/math">
                          <m:oMathParaPr>
                            <m:jc m:val="centerGroup"/>
                          </m:oMathParaPr>
                          <m:oMath xmlns:m="http://schemas.openxmlformats.org/officeDocument/2006/math">
                            <m:r>
                              <a:rPr lang="en-US" sz="1000" b="0" i="1" smtClean="0">
                                <a:latin typeface="Cambria Math"/>
                              </a:rPr>
                              <m:t>1/</m:t>
                            </m:r>
                            <m:r>
                              <a:rPr lang="en-US" sz="1000" b="0" i="1" smtClean="0">
                                <a:latin typeface="Cambria Math"/>
                              </a:rPr>
                              <m:t>𝑠</m:t>
                            </m:r>
                          </m:oMath>
                        </m:oMathPara>
                      </a14:m>
                      <a:endParaRPr lang="sv-SE" sz="1000" dirty="0"/>
                    </a:p>
                  </p:txBody>
                </p:sp>
              </mc:Choice>
              <mc:Fallback xmlns="">
                <p:sp>
                  <p:nvSpPr>
                    <p:cNvPr id="274" name="TextBox 273"/>
                    <p:cNvSpPr txBox="1">
                      <a:spLocks noRot="1" noChangeAspect="1" noMove="1" noResize="1" noEditPoints="1" noAdjustHandles="1" noChangeArrowheads="1" noChangeShapeType="1" noTextEdit="1"/>
                    </p:cNvSpPr>
                    <p:nvPr/>
                  </p:nvSpPr>
                  <p:spPr>
                    <a:xfrm>
                      <a:off x="2945896" y="4654236"/>
                      <a:ext cx="408509" cy="246220"/>
                    </a:xfrm>
                    <a:prstGeom prst="rect">
                      <a:avLst/>
                    </a:prstGeom>
                    <a:blipFill rotWithShape="1">
                      <a:blip r:embed="rId25"/>
                      <a:stretch>
                        <a:fillRect/>
                      </a:stretch>
                    </a:blipFill>
                  </p:spPr>
                  <p:txBody>
                    <a:bodyPr/>
                    <a:lstStyle/>
                    <a:p>
                      <a:r>
                        <a:rPr lang="sv-SE">
                          <a:noFill/>
                        </a:rPr>
                        <a:t> </a:t>
                      </a:r>
                    </a:p>
                  </p:txBody>
                </p:sp>
              </mc:Fallback>
            </mc:AlternateContent>
          </p:grp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18" name="TextBox 117"/>
                  <p:cNvSpPr txBox="1"/>
                  <p:nvPr/>
                </p:nvSpPr>
                <p:spPr>
                  <a:xfrm>
                    <a:off x="3495901" y="4222750"/>
                    <a:ext cx="338682" cy="258084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sz="10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acc>
                                <m:accPr>
                                  <m:chr m:val="̇"/>
                                  <m:ctrlPr>
                                    <a:rPr lang="en-US" sz="10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sz="1000" b="0" i="1" smtClean="0">
                                      <a:latin typeface="Cambria Math"/>
                                    </a:rPr>
                                    <m:t>𝑧</m:t>
                                  </m:r>
                                </m:e>
                              </m:acc>
                            </m:e>
                            <m:sub>
                              <m:r>
                                <a:rPr lang="en-US" sz="1000" b="0" i="1" smtClean="0">
                                  <a:latin typeface="Cambria Math"/>
                                </a:rPr>
                                <m:t>𝑝</m:t>
                              </m:r>
                            </m:sub>
                          </m:sSub>
                        </m:oMath>
                      </m:oMathPara>
                    </a14:m>
                    <a:endParaRPr lang="sv-SE" sz="1000" dirty="0"/>
                  </a:p>
                </p:txBody>
              </p:sp>
            </mc:Choice>
            <mc:Fallback xmlns="">
              <p:sp>
                <p:nvSpPr>
                  <p:cNvPr id="118" name="TextBox 117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3495901" y="4222750"/>
                    <a:ext cx="338682" cy="258084"/>
                  </a:xfrm>
                  <a:prstGeom prst="rect">
                    <a:avLst/>
                  </a:prstGeom>
                  <a:blipFill rotWithShape="1">
                    <a:blip r:embed="rId26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sv-S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grpSp>
            <p:nvGrpSpPr>
              <p:cNvPr id="119" name="Group 118"/>
              <p:cNvGrpSpPr/>
              <p:nvPr/>
            </p:nvGrpSpPr>
            <p:grpSpPr>
              <a:xfrm>
                <a:off x="3886200" y="4386703"/>
                <a:ext cx="434150" cy="264143"/>
                <a:chOff x="2945895" y="4654236"/>
                <a:chExt cx="434149" cy="264142"/>
              </a:xfrm>
            </p:grpSpPr>
            <p:sp>
              <p:nvSpPr>
                <p:cNvPr id="120" name="Rectangle 119"/>
                <p:cNvSpPr/>
                <p:nvPr/>
              </p:nvSpPr>
              <p:spPr>
                <a:xfrm>
                  <a:off x="2945895" y="4667404"/>
                  <a:ext cx="434149" cy="250974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sv-SE" dirty="0">
                    <a:solidFill>
                      <a:schemeClr val="tx1"/>
                    </a:solidFill>
                  </a:endParaRPr>
                </a:p>
              </p:txBody>
            </p:sp>
            <mc:AlternateContent xmlns:mc="http://schemas.openxmlformats.org/markup-compatibility/2006" xmlns:a14="http://schemas.microsoft.com/office/drawing/2010/main">
              <mc:Choice Requires="a14">
                <p:sp>
                  <p:nvSpPr>
                    <p:cNvPr id="121" name="TextBox 120"/>
                    <p:cNvSpPr txBox="1"/>
                    <p:nvPr/>
                  </p:nvSpPr>
                  <p:spPr>
                    <a:xfrm>
                      <a:off x="2945896" y="4654236"/>
                      <a:ext cx="431656" cy="258083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pPr/>
                      <a14:m>
                        <m:oMathPara xmlns:m="http://schemas.openxmlformats.org/officeDocument/2006/math">
                          <m:oMathParaPr>
                            <m:jc m:val="centerGroup"/>
                          </m:oMathParaPr>
                          <m:oMath xmlns:m="http://schemas.openxmlformats.org/officeDocument/2006/math">
                            <m:r>
                              <a:rPr lang="en-US" sz="1000" b="0" i="1" smtClean="0">
                                <a:latin typeface="Cambria Math"/>
                              </a:rPr>
                              <m:t>−</m:t>
                            </m:r>
                            <m:sSub>
                              <m:sSubPr>
                                <m:ctrlPr>
                                  <a:rPr lang="en-US" sz="10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1000" b="0" i="1" smtClean="0">
                                    <a:latin typeface="Cambria Math"/>
                                  </a:rPr>
                                  <m:t>𝑐</m:t>
                                </m:r>
                              </m:e>
                              <m:sub>
                                <m:r>
                                  <a:rPr lang="en-US" sz="1000" b="0" i="1" smtClean="0">
                                    <a:latin typeface="Cambria Math"/>
                                  </a:rPr>
                                  <m:t>𝑝</m:t>
                                </m:r>
                              </m:sub>
                            </m:sSub>
                          </m:oMath>
                        </m:oMathPara>
                      </a14:m>
                      <a:endParaRPr lang="sv-SE" sz="1000" dirty="0"/>
                    </a:p>
                  </p:txBody>
                </p:sp>
              </mc:Choice>
              <mc:Fallback xmlns="">
                <p:sp>
                  <p:nvSpPr>
                    <p:cNvPr id="281" name="TextBox 280"/>
                    <p:cNvSpPr txBox="1">
                      <a:spLocks noRot="1" noChangeAspect="1" noMove="1" noResize="1" noEditPoints="1" noAdjustHandles="1" noChangeArrowheads="1" noChangeShapeType="1" noTextEdit="1"/>
                    </p:cNvSpPr>
                    <p:nvPr/>
                  </p:nvSpPr>
                  <p:spPr>
                    <a:xfrm>
                      <a:off x="2945896" y="4654236"/>
                      <a:ext cx="431656" cy="258083"/>
                    </a:xfrm>
                    <a:prstGeom prst="rect">
                      <a:avLst/>
                    </a:prstGeom>
                    <a:blipFill rotWithShape="1">
                      <a:blip r:embed="rId27"/>
                      <a:stretch>
                        <a:fillRect/>
                      </a:stretch>
                    </a:blipFill>
                  </p:spPr>
                  <p:txBody>
                    <a:bodyPr/>
                    <a:lstStyle/>
                    <a:p>
                      <a:r>
                        <a:rPr lang="sv-SE">
                          <a:noFill/>
                        </a:rPr>
                        <a:t> </a:t>
                      </a:r>
                    </a:p>
                  </p:txBody>
                </p:sp>
              </mc:Fallback>
            </mc:AlternateContent>
          </p:grpSp>
          <p:sp>
            <p:nvSpPr>
              <p:cNvPr id="122" name="TextBox 121"/>
              <p:cNvSpPr txBox="1"/>
              <p:nvPr/>
            </p:nvSpPr>
            <p:spPr>
              <a:xfrm>
                <a:off x="2956719" y="4192305"/>
                <a:ext cx="708523" cy="25822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800" dirty="0"/>
                  <a:t>integrator</a:t>
                </a:r>
                <a:endParaRPr lang="sv-SE" sz="800" dirty="0"/>
              </a:p>
            </p:txBody>
          </p:sp>
          <p:sp>
            <p:nvSpPr>
              <p:cNvPr id="123" name="TextBox 122"/>
              <p:cNvSpPr txBox="1"/>
              <p:nvPr/>
            </p:nvSpPr>
            <p:spPr>
              <a:xfrm>
                <a:off x="2353433" y="4030373"/>
                <a:ext cx="860164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800" dirty="0"/>
                  <a:t>Accelerometer</a:t>
                </a:r>
                <a:endParaRPr lang="sv-SE" sz="800" dirty="0"/>
              </a:p>
            </p:txBody>
          </p:sp>
          <p:cxnSp>
            <p:nvCxnSpPr>
              <p:cNvPr id="124" name="Straight Arrow Connector 123"/>
              <p:cNvCxnSpPr>
                <a:stCxn id="123" idx="2"/>
              </p:cNvCxnSpPr>
              <p:nvPr/>
            </p:nvCxnSpPr>
            <p:spPr>
              <a:xfrm>
                <a:off x="2783515" y="4245817"/>
                <a:ext cx="4680" cy="219890"/>
              </a:xfrm>
              <a:prstGeom prst="straightConnector1">
                <a:avLst/>
              </a:prstGeom>
              <a:ln w="6350">
                <a:solidFill>
                  <a:schemeClr val="tx1"/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5" name="Oval 124"/>
              <p:cNvSpPr/>
              <p:nvPr/>
            </p:nvSpPr>
            <p:spPr>
              <a:xfrm>
                <a:off x="2376126" y="5749741"/>
                <a:ext cx="407032" cy="38100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sv-SE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211640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Title 1"/>
              <p:cNvSpPr>
                <a:spLocks noGrp="1"/>
              </p:cNvSpPr>
              <p:nvPr>
                <p:ph type="title"/>
              </p:nvPr>
            </p:nvSpPr>
            <p:spPr>
              <a:xfrm>
                <a:off x="1619250" y="16250"/>
                <a:ext cx="6935788" cy="668338"/>
              </a:xfrm>
            </p:spPr>
            <p:txBody>
              <a:bodyPr>
                <a:no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sv-S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>
                            <a:latin typeface="Cambria Math"/>
                          </a:rPr>
                          <m:t>𝑯</m:t>
                        </m:r>
                      </m:e>
                      <m:sub>
                        <m:r>
                          <a:rPr lang="en-US">
                            <a:latin typeface="Cambria Math"/>
                          </a:rPr>
                          <m:t>∞</m:t>
                        </m:r>
                      </m:sub>
                    </m:sSub>
                  </m:oMath>
                </a14:m>
                <a:r>
                  <a:rPr lang="en-US" dirty="0"/>
                  <a:t>norm:</a:t>
                </a:r>
                <a:endParaRPr lang="sv-SE" dirty="0"/>
              </a:p>
            </p:txBody>
          </p:sp>
        </mc:Choice>
        <mc:Fallback xmlns="">
          <p:sp>
            <p:nvSpPr>
              <p:cNvPr id="2" name="Title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xfrm>
                <a:off x="1619250" y="16250"/>
                <a:ext cx="6935788" cy="668338"/>
              </a:xfrm>
              <a:blipFill rotWithShape="1">
                <a:blip r:embed="rId2"/>
                <a:stretch>
                  <a:fillRect b="-29358"/>
                </a:stretch>
              </a:blipFill>
            </p:spPr>
            <p:txBody>
              <a:bodyPr/>
              <a:lstStyle/>
              <a:p>
                <a:r>
                  <a:rPr lang="sv-S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816187" y="1143000"/>
                <a:ext cx="6935788" cy="4453466"/>
              </a:xfrm>
            </p:spPr>
            <p:txBody>
              <a:bodyPr>
                <a:noAutofit/>
              </a:bodyPr>
              <a:lstStyle/>
              <a:p>
                <a:pPr>
                  <a:buClr>
                    <a:srgbClr val="FF0000"/>
                  </a:buClr>
                </a:pPr>
                <a:r>
                  <a:rPr lang="en-GB" dirty="0"/>
                  <a:t>Infinity norm of a SISO system with transfer function </a:t>
                </a:r>
                <a14:m>
                  <m:oMath xmlns:m="http://schemas.openxmlformats.org/officeDocument/2006/math">
                    <m:r>
                      <a:rPr lang="en-GB" i="1">
                        <a:latin typeface="Cambria Math"/>
                      </a:rPr>
                      <m:t>𝑃</m:t>
                    </m:r>
                    <m:r>
                      <a:rPr lang="en-GB" i="1">
                        <a:latin typeface="Cambria Math"/>
                      </a:rPr>
                      <m:t>(</m:t>
                    </m:r>
                    <m:r>
                      <a:rPr lang="en-GB" i="1">
                        <a:latin typeface="Cambria Math"/>
                      </a:rPr>
                      <m:t>𝑠</m:t>
                    </m:r>
                    <m:r>
                      <a:rPr lang="en-GB" i="1">
                        <a:latin typeface="Cambria Math"/>
                      </a:rPr>
                      <m:t>)</m:t>
                    </m:r>
                  </m:oMath>
                </a14:m>
                <a:r>
                  <a:rPr lang="en-GB" dirty="0"/>
                  <a:t> is: </a:t>
                </a:r>
              </a:p>
              <a:p>
                <a:endParaRPr lang="sv-SE" i="1" dirty="0">
                  <a:latin typeface="Cambria Math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sv-SE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d>
                            <m:dPr>
                              <m:begChr m:val="‖"/>
                              <m:endChr m:val="‖"/>
                              <m:ctrlPr>
                                <a:rPr lang="sv-SE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GB" i="1">
                                  <a:latin typeface="Cambria Math"/>
                                </a:rPr>
                                <m:t>𝑃</m:t>
                              </m:r>
                              <m:r>
                                <a:rPr lang="en-GB" i="1">
                                  <a:latin typeface="Cambria Math"/>
                                </a:rPr>
                                <m:t>(</m:t>
                              </m:r>
                              <m:r>
                                <a:rPr lang="en-GB" i="1">
                                  <a:latin typeface="Cambria Math"/>
                                </a:rPr>
                                <m:t>𝑠</m:t>
                              </m:r>
                              <m:r>
                                <a:rPr lang="en-GB" i="1">
                                  <a:latin typeface="Cambria Math"/>
                                </a:rPr>
                                <m:t>)</m:t>
                              </m:r>
                            </m:e>
                          </m:d>
                        </m:e>
                        <m:sub>
                          <m:r>
                            <a:rPr lang="en-GB" i="1">
                              <a:latin typeface="Cambria Math"/>
                            </a:rPr>
                            <m:t>∞</m:t>
                          </m:r>
                        </m:sub>
                      </m:sSub>
                      <m:r>
                        <a:rPr lang="en-GB" i="1">
                          <a:latin typeface="Cambria Math"/>
                        </a:rPr>
                        <m:t>=</m:t>
                      </m:r>
                      <m:func>
                        <m:funcPr>
                          <m:ctrlPr>
                            <a:rPr lang="sv-SE" i="1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limLow>
                            <m:limLowPr>
                              <m:ctrlPr>
                                <a:rPr lang="sv-SE" i="1">
                                  <a:latin typeface="Cambria Math" panose="02040503050406030204" pitchFamily="18" charset="0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en-GB">
                                  <a:latin typeface="Cambria Math"/>
                                </a:rPr>
                                <m:t>sup</m:t>
                              </m:r>
                            </m:e>
                            <m:lim>
                              <m:r>
                                <a:rPr lang="en-GB" i="1">
                                  <a:latin typeface="Cambria Math"/>
                                </a:rPr>
                                <m:t>𝑤</m:t>
                              </m:r>
                            </m:lim>
                          </m:limLow>
                        </m:fName>
                        <m:e>
                          <m:r>
                            <a:rPr lang="en-GB" i="1">
                              <a:latin typeface="Cambria Math"/>
                            </a:rPr>
                            <m:t> </m:t>
                          </m:r>
                          <m:d>
                            <m:dPr>
                              <m:begChr m:val="|"/>
                              <m:endChr m:val="|"/>
                              <m:ctrlPr>
                                <a:rPr lang="sv-SE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GB" i="1">
                                  <a:latin typeface="Cambria Math"/>
                                </a:rPr>
                                <m:t>𝑃</m:t>
                              </m:r>
                              <m:r>
                                <a:rPr lang="en-GB" i="1">
                                  <a:latin typeface="Cambria Math"/>
                                </a:rPr>
                                <m:t>(</m:t>
                              </m:r>
                              <m:r>
                                <a:rPr lang="en-GB" i="1">
                                  <a:latin typeface="Cambria Math"/>
                                </a:rPr>
                                <m:t>𝑖𝑤</m:t>
                              </m:r>
                              <m:r>
                                <a:rPr lang="en-GB" i="1">
                                  <a:latin typeface="Cambria Math"/>
                                </a:rPr>
                                <m:t>)</m:t>
                              </m:r>
                            </m:e>
                          </m:d>
                        </m:e>
                      </m:func>
                    </m:oMath>
                  </m:oMathPara>
                </a14:m>
                <a:endParaRPr lang="sv-SE" dirty="0"/>
              </a:p>
              <a:p>
                <a:endParaRPr lang="en-US" dirty="0"/>
              </a:p>
              <a:p>
                <a:endParaRPr lang="en-US" dirty="0"/>
              </a:p>
              <a:p>
                <a:r>
                  <a:rPr lang="en-US" dirty="0"/>
                  <a:t>For a MIMO system:</a:t>
                </a:r>
              </a:p>
              <a:p>
                <a:endParaRPr lang="en-US" dirty="0"/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sv-SE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d>
                            <m:dPr>
                              <m:begChr m:val="‖"/>
                              <m:endChr m:val="‖"/>
                              <m:ctrlPr>
                                <a:rPr lang="sv-SE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GB" i="1">
                                  <a:latin typeface="Cambria Math"/>
                                </a:rPr>
                                <m:t>𝑃</m:t>
                              </m:r>
                              <m:r>
                                <a:rPr lang="en-GB" i="1">
                                  <a:latin typeface="Cambria Math"/>
                                </a:rPr>
                                <m:t>(</m:t>
                              </m:r>
                              <m:r>
                                <a:rPr lang="en-GB" i="1">
                                  <a:latin typeface="Cambria Math"/>
                                </a:rPr>
                                <m:t>𝑠</m:t>
                              </m:r>
                              <m:r>
                                <a:rPr lang="en-GB" i="1">
                                  <a:latin typeface="Cambria Math"/>
                                </a:rPr>
                                <m:t>)</m:t>
                              </m:r>
                            </m:e>
                          </m:d>
                        </m:e>
                        <m:sub>
                          <m:r>
                            <a:rPr lang="en-GB" i="1">
                              <a:latin typeface="Cambria Math"/>
                            </a:rPr>
                            <m:t>∞</m:t>
                          </m:r>
                        </m:sub>
                      </m:sSub>
                      <m:r>
                        <a:rPr lang="en-GB" i="1">
                          <a:latin typeface="Cambria Math"/>
                        </a:rPr>
                        <m:t>=</m:t>
                      </m:r>
                      <m:func>
                        <m:funcPr>
                          <m:ctrlPr>
                            <a:rPr lang="sv-SE" i="1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limLow>
                            <m:limLowPr>
                              <m:ctrlPr>
                                <a:rPr lang="sv-SE" i="1">
                                  <a:latin typeface="Cambria Math" panose="02040503050406030204" pitchFamily="18" charset="0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en-GB">
                                  <a:latin typeface="Cambria Math"/>
                                </a:rPr>
                                <m:t>sup</m:t>
                              </m:r>
                            </m:e>
                            <m:lim>
                              <m:r>
                                <a:rPr lang="en-GB" i="1">
                                  <a:latin typeface="Cambria Math"/>
                                </a:rPr>
                                <m:t>𝑤</m:t>
                              </m:r>
                            </m:lim>
                          </m:limLow>
                        </m:fName>
                        <m:e>
                          <m:r>
                            <a:rPr lang="en-GB" i="1">
                              <a:latin typeface="Cambria Math"/>
                            </a:rPr>
                            <m:t> </m:t>
                          </m:r>
                          <m:d>
                            <m:dPr>
                              <m:begChr m:val="|"/>
                              <m:endChr m:val="|"/>
                              <m:ctrlPr>
                                <a:rPr lang="sv-SE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acc>
                                <m:accPr>
                                  <m:chr m:val="̅"/>
                                  <m:ctrlPr>
                                    <a:rPr lang="sv-SE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𝜎</m:t>
                                  </m:r>
                                </m:e>
                              </m:acc>
                              <m:r>
                                <a:rPr lang="en-US" b="0" i="1" smtClean="0">
                                  <a:latin typeface="Cambria Math"/>
                                </a:rPr>
                                <m:t>(</m:t>
                              </m:r>
                              <m:r>
                                <a:rPr lang="en-GB" i="1">
                                  <a:latin typeface="Cambria Math"/>
                                </a:rPr>
                                <m:t>𝑃</m:t>
                              </m:r>
                              <m:d>
                                <m:dPr>
                                  <m:ctrlPr>
                                    <a:rPr lang="en-GB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GB" i="1">
                                      <a:latin typeface="Cambria Math"/>
                                    </a:rPr>
                                    <m:t>𝑖𝑤</m:t>
                                  </m:r>
                                </m:e>
                              </m:d>
                              <m:r>
                                <a:rPr lang="en-US" b="0" i="1" smtClean="0">
                                  <a:latin typeface="Cambria Math"/>
                                </a:rPr>
                                <m:t>)</m:t>
                              </m:r>
                            </m:e>
                          </m:d>
                        </m:e>
                      </m:func>
                    </m:oMath>
                  </m:oMathPara>
                </a14:m>
                <a:endParaRPr lang="sv-SE" dirty="0"/>
              </a:p>
              <a:p>
                <a:endParaRPr lang="sv-SE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816187" y="1143000"/>
                <a:ext cx="6935788" cy="4453466"/>
              </a:xfrm>
              <a:blipFill rotWithShape="1">
                <a:blip r:embed="rId3"/>
                <a:stretch>
                  <a:fillRect l="-2285" t="-1644" r="-88"/>
                </a:stretch>
              </a:blipFill>
            </p:spPr>
            <p:txBody>
              <a:bodyPr/>
              <a:lstStyle/>
              <a:p>
                <a:r>
                  <a:rPr lang="sv-S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00EA7-DA1B-4E6D-8870-707C2883C942}" type="slidenum">
              <a:rPr lang="sv-SE" smtClean="0"/>
              <a:t>5</a:t>
            </a:fld>
            <a:endParaRPr lang="sv-SE" dirty="0"/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78" t="27738" r="65840" b="14978"/>
          <a:stretch/>
        </p:blipFill>
        <p:spPr bwMode="auto">
          <a:xfrm>
            <a:off x="4141894" y="2194560"/>
            <a:ext cx="4792768" cy="35945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13336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Title 1"/>
              <p:cNvSpPr>
                <a:spLocks noGrp="1"/>
              </p:cNvSpPr>
              <p:nvPr>
                <p:ph type="title"/>
              </p:nvPr>
            </p:nvSpPr>
            <p:spPr/>
            <p:txBody>
              <a:bodyPr/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sv-S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i="1">
                            <a:latin typeface="Cambria Math"/>
                          </a:rPr>
                          <m:t>𝑯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∞</m:t>
                        </m:r>
                      </m:sub>
                    </m:sSub>
                  </m:oMath>
                </a14:m>
                <a:r>
                  <a:rPr lang="sv-SE" dirty="0"/>
                  <a:t> </a:t>
                </a:r>
                <a:r>
                  <a:rPr lang="en-GB" dirty="0"/>
                  <a:t>controller principle:</a:t>
                </a:r>
                <a:endParaRPr lang="sv-SE" dirty="0"/>
              </a:p>
            </p:txBody>
          </p:sp>
        </mc:Choice>
        <mc:Fallback xmlns="">
          <p:sp>
            <p:nvSpPr>
              <p:cNvPr id="2" name="Title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blipFill rotWithShape="1">
                <a:blip r:embed="rId2"/>
                <a:stretch>
                  <a:fillRect b="-29091"/>
                </a:stretch>
              </a:blipFill>
            </p:spPr>
            <p:txBody>
              <a:bodyPr/>
              <a:lstStyle/>
              <a:p>
                <a:r>
                  <a:rPr lang="sv-S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en-GB" dirty="0"/>
                  <a:t>Consider plant </a:t>
                </a:r>
                <a14:m>
                  <m:oMath xmlns:m="http://schemas.openxmlformats.org/officeDocument/2006/math">
                    <m:r>
                      <a:rPr lang="en-GB" i="1">
                        <a:latin typeface="Cambria Math"/>
                      </a:rPr>
                      <m:t>𝑃</m:t>
                    </m:r>
                  </m:oMath>
                </a14:m>
                <a:endParaRPr lang="en-US" dirty="0"/>
              </a:p>
              <a:p>
                <a:endParaRPr lang="en-GB" dirty="0"/>
              </a:p>
              <a:p>
                <a:endParaRPr lang="en-GB" dirty="0"/>
              </a:p>
              <a:p>
                <a:endParaRPr lang="en-GB" dirty="0"/>
              </a:p>
              <a:p>
                <a:endParaRPr lang="en-GB" dirty="0"/>
              </a:p>
              <a:p>
                <a:endParaRPr lang="en-GB" dirty="0"/>
              </a:p>
              <a:p>
                <a:endParaRPr lang="en-GB" dirty="0"/>
              </a:p>
              <a:p>
                <a:endParaRPr lang="en-GB" dirty="0"/>
              </a:p>
              <a:p>
                <a:r>
                  <a:rPr lang="en-GB" dirty="0"/>
                  <a:t>The aim is to design a controller so that the closed-loop system (</a:t>
                </a:r>
                <a14:m>
                  <m:oMath xmlns:m="http://schemas.openxmlformats.org/officeDocument/2006/math">
                    <m:r>
                      <a:rPr lang="en-GB" i="1" smtClean="0">
                        <a:latin typeface="Cambria Math"/>
                      </a:rPr>
                      <m:t>𝐶𝐿</m:t>
                    </m:r>
                  </m:oMath>
                </a14:m>
                <a:r>
                  <a:rPr lang="en-GB" dirty="0"/>
                  <a:t>) infinity norm is minimum. </a:t>
                </a:r>
              </a:p>
              <a:p>
                <a:pPr algn="ctr"/>
                <a14:m>
                  <m:oMath xmlns:m="http://schemas.openxmlformats.org/officeDocument/2006/math">
                    <m:r>
                      <a:rPr lang="en-GB" i="1">
                        <a:latin typeface="Cambria Math"/>
                      </a:rPr>
                      <m:t>𝛾</m:t>
                    </m:r>
                    <m:r>
                      <a:rPr lang="sv-SE" i="1">
                        <a:latin typeface="Cambria Math"/>
                      </a:rPr>
                      <m:t>=</m:t>
                    </m:r>
                    <m:sSub>
                      <m:sSubPr>
                        <m:ctrlPr>
                          <a:rPr lang="sv-S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d>
                          <m:dPr>
                            <m:begChr m:val="‖"/>
                            <m:endChr m:val="‖"/>
                            <m:ctrlPr>
                              <a:rPr lang="sv-SE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GB" i="1">
                                <a:latin typeface="Cambria Math"/>
                              </a:rPr>
                              <m:t>𝐶𝐿</m:t>
                            </m:r>
                          </m:e>
                        </m:d>
                      </m:e>
                      <m:sub>
                        <m:r>
                          <a:rPr lang="sv-SE" i="1">
                            <a:latin typeface="Cambria Math"/>
                          </a:rPr>
                          <m:t>∞</m:t>
                        </m:r>
                      </m:sub>
                    </m:sSub>
                  </m:oMath>
                </a14:m>
                <a:r>
                  <a:rPr lang="en-GB" dirty="0"/>
                  <a:t> </a:t>
                </a:r>
                <a:endParaRPr lang="sv-SE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1">
                <a:blip r:embed="rId3"/>
                <a:stretch>
                  <a:fillRect l="-2287" t="-1794"/>
                </a:stretch>
              </a:blipFill>
            </p:spPr>
            <p:txBody>
              <a:bodyPr/>
              <a:lstStyle/>
              <a:p>
                <a:r>
                  <a:rPr lang="sv-S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00EA7-DA1B-4E6D-8870-707C2883C942}" type="slidenum">
              <a:rPr lang="sv-SE" smtClean="0"/>
              <a:t>6</a:t>
            </a:fld>
            <a:endParaRPr lang="sv-SE" dirty="0"/>
          </a:p>
        </p:txBody>
      </p:sp>
      <p:pic>
        <p:nvPicPr>
          <p:cNvPr id="5" name="Picture 4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2361" y="2263140"/>
            <a:ext cx="5002849" cy="208586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1011294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Title 1"/>
              <p:cNvSpPr>
                <a:spLocks noGrp="1"/>
              </p:cNvSpPr>
              <p:nvPr>
                <p:ph type="title"/>
              </p:nvPr>
            </p:nvSpPr>
            <p:spPr/>
            <p:txBody>
              <a:bodyPr/>
              <a:lstStyle/>
              <a:p>
                <a:r>
                  <a:rPr lang="en-GB" dirty="0"/>
                  <a:t>Extending the model </a:t>
                </a:r>
                <a14:m>
                  <m:oMath xmlns:m="http://schemas.openxmlformats.org/officeDocument/2006/math">
                    <m:r>
                      <a:rPr lang="en-GB" i="1">
                        <a:latin typeface="Cambria Math"/>
                      </a:rPr>
                      <m:t>𝑃</m:t>
                    </m:r>
                  </m:oMath>
                </a14:m>
                <a:r>
                  <a:rPr lang="en-GB" dirty="0"/>
                  <a:t> with weighting functions</a:t>
                </a:r>
                <a:endParaRPr lang="sv-SE" dirty="0"/>
              </a:p>
            </p:txBody>
          </p:sp>
        </mc:Choice>
        <mc:Fallback xmlns="">
          <p:sp>
            <p:nvSpPr>
              <p:cNvPr id="2" name="Title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blipFill rotWithShape="1">
                <a:blip r:embed="rId2"/>
                <a:stretch>
                  <a:fillRect l="-2902" t="-30909" b="-30000"/>
                </a:stretch>
              </a:blipFill>
            </p:spPr>
            <p:txBody>
              <a:bodyPr/>
              <a:lstStyle/>
              <a:p>
                <a:r>
                  <a:rPr lang="sv-S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1619250" y="1473200"/>
                <a:ext cx="6935788" cy="4187825"/>
              </a:xfrm>
            </p:spPr>
            <p:txBody>
              <a:bodyPr>
                <a:normAutofit lnSpcReduction="10000"/>
              </a:bodyPr>
              <a:lstStyle/>
              <a:p>
                <a:r>
                  <a:rPr lang="en-GB" sz="1800" dirty="0"/>
                  <a:t>One can extend the model </a:t>
                </a:r>
                <a14:m>
                  <m:oMath xmlns:m="http://schemas.openxmlformats.org/officeDocument/2006/math">
                    <m:r>
                      <a:rPr lang="en-GB" sz="1800" i="1">
                        <a:latin typeface="Cambria Math"/>
                      </a:rPr>
                      <m:t>𝑃</m:t>
                    </m:r>
                  </m:oMath>
                </a14:m>
                <a:r>
                  <a:rPr lang="en-GB" sz="1800" dirty="0"/>
                  <a:t> with weighting functions.</a:t>
                </a:r>
              </a:p>
              <a:p>
                <a:r>
                  <a:rPr lang="en-GB" sz="1800" dirty="0"/>
                  <a:t>Design controller </a:t>
                </a:r>
                <a14:m>
                  <m:oMath xmlns:m="http://schemas.openxmlformats.org/officeDocument/2006/math">
                    <m:r>
                      <a:rPr lang="en-GB" sz="1800" i="1">
                        <a:latin typeface="Cambria Math"/>
                      </a:rPr>
                      <m:t>𝐾</m:t>
                    </m:r>
                  </m:oMath>
                </a14:m>
                <a:r>
                  <a:rPr lang="en-GB" sz="1800" dirty="0"/>
                  <a:t> for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8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800" b="0" i="1" smtClean="0">
                            <a:latin typeface="Cambria Math"/>
                          </a:rPr>
                          <m:t>𝑃</m:t>
                        </m:r>
                      </m:e>
                      <m:sub>
                        <m:r>
                          <a:rPr lang="en-US" sz="1800" b="0" i="1" smtClean="0">
                            <a:latin typeface="Cambria Math"/>
                          </a:rPr>
                          <m:t>𝑒</m:t>
                        </m:r>
                      </m:sub>
                    </m:sSub>
                  </m:oMath>
                </a14:m>
                <a:endParaRPr lang="en-GB" sz="1800" dirty="0"/>
              </a:p>
              <a:p>
                <a:endParaRPr lang="en-GB" sz="1800" dirty="0"/>
              </a:p>
              <a:p>
                <a:endParaRPr lang="en-GB" sz="1800" dirty="0"/>
              </a:p>
              <a:p>
                <a:endParaRPr lang="en-GB" sz="1800" dirty="0"/>
              </a:p>
              <a:p>
                <a:endParaRPr lang="en-GB" sz="1800" dirty="0"/>
              </a:p>
              <a:p>
                <a:endParaRPr lang="en-GB" sz="1800" dirty="0"/>
              </a:p>
              <a:p>
                <a:endParaRPr lang="en-GB" sz="1800" dirty="0"/>
              </a:p>
              <a:p>
                <a:endParaRPr lang="en-GB" sz="1800" dirty="0"/>
              </a:p>
              <a:p>
                <a:endParaRPr lang="en-GB" sz="1800" dirty="0"/>
              </a:p>
              <a:p>
                <a:endParaRPr lang="en-GB" sz="1800" dirty="0"/>
              </a:p>
              <a:p>
                <a:endParaRPr lang="en-GB" sz="1800" dirty="0"/>
              </a:p>
              <a:p>
                <a:r>
                  <a:rPr lang="en-GB" sz="1800" dirty="0">
                    <a:solidFill>
                      <a:srgbClr val="0070C0"/>
                    </a:solidFill>
                  </a:rPr>
                  <a:t>Why? </a:t>
                </a:r>
                <a:r>
                  <a:rPr lang="en-GB" sz="1800" dirty="0"/>
                  <a:t>to penalize the desired signals at the desired frequencies.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1619250" y="1473200"/>
                <a:ext cx="6935788" cy="4187825"/>
              </a:xfrm>
              <a:blipFill rotWithShape="1">
                <a:blip r:embed="rId3"/>
                <a:stretch>
                  <a:fillRect l="-2111" t="-2475"/>
                </a:stretch>
              </a:blipFill>
            </p:spPr>
            <p:txBody>
              <a:bodyPr/>
              <a:lstStyle/>
              <a:p>
                <a:r>
                  <a:rPr lang="sv-S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00EA7-DA1B-4E6D-8870-707C2883C942}" type="slidenum">
              <a:rPr lang="sv-SE" smtClean="0"/>
              <a:t>7</a:t>
            </a:fld>
            <a:endParaRPr lang="sv-SE" dirty="0"/>
          </a:p>
        </p:txBody>
      </p:sp>
      <p:pic>
        <p:nvPicPr>
          <p:cNvPr id="5" name="Picture 4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4667" y="2184402"/>
            <a:ext cx="4216398" cy="282786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348329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d. </a:t>
            </a:r>
            <a:endParaRPr lang="sv-S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1619250" y="1328739"/>
                <a:ext cx="6935788" cy="4394728"/>
              </a:xfrm>
            </p:spPr>
            <p:txBody>
              <a:bodyPr>
                <a:noAutofit/>
              </a:bodyPr>
              <a:lstStyle/>
              <a:p>
                <a:r>
                  <a:rPr lang="en-GB" dirty="0"/>
                  <a:t>Having the weighting functions, controller </a:t>
                </a:r>
                <a14:m>
                  <m:oMath xmlns:m="http://schemas.openxmlformats.org/officeDocument/2006/math">
                    <m:r>
                      <a:rPr lang="en-GB" i="1">
                        <a:latin typeface="Cambria Math"/>
                      </a:rPr>
                      <m:t>𝐾</m:t>
                    </m:r>
                  </m:oMath>
                </a14:m>
                <a:r>
                  <a:rPr lang="en-GB" i="1" dirty="0"/>
                  <a:t> </a:t>
                </a:r>
                <a:r>
                  <a:rPr lang="en-GB" dirty="0"/>
                  <a:t>can be designed by Matlab.</a:t>
                </a:r>
                <a:endParaRPr lang="en-GB" i="1" dirty="0"/>
              </a:p>
              <a:p>
                <a:endParaRPr lang="en-GB" dirty="0"/>
              </a:p>
              <a:p>
                <a:endParaRPr lang="en-GB" dirty="0"/>
              </a:p>
              <a:p>
                <a:endParaRPr lang="en-GB" dirty="0"/>
              </a:p>
              <a:p>
                <a:endParaRPr lang="en-GB" dirty="0">
                  <a:solidFill>
                    <a:srgbClr val="0070C0"/>
                  </a:solidFill>
                </a:endParaRPr>
              </a:p>
              <a:p>
                <a:endParaRPr lang="en-GB" dirty="0">
                  <a:solidFill>
                    <a:srgbClr val="0070C0"/>
                  </a:solidFill>
                </a:endParaRPr>
              </a:p>
              <a:p>
                <a:endParaRPr lang="en-GB" dirty="0">
                  <a:solidFill>
                    <a:srgbClr val="0070C0"/>
                  </a:solidFill>
                </a:endParaRPr>
              </a:p>
              <a:p>
                <a:endParaRPr lang="en-GB" dirty="0">
                  <a:solidFill>
                    <a:srgbClr val="0070C0"/>
                  </a:solidFill>
                </a:endParaRPr>
              </a:p>
              <a:p>
                <a:r>
                  <a:rPr lang="en-GB" dirty="0">
                    <a:solidFill>
                      <a:srgbClr val="0070C0"/>
                    </a:solidFill>
                  </a:rPr>
                  <a:t>Unsatisfactory response: </a:t>
                </a:r>
                <a:r>
                  <a:rPr lang="en-GB" dirty="0"/>
                  <a:t>Change the weighing functions and look for a new controller.</a:t>
                </a:r>
                <a:endParaRPr lang="sv-SE" dirty="0"/>
              </a:p>
              <a:p>
                <a:endParaRPr lang="sv-SE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1619250" y="1328739"/>
                <a:ext cx="6935788" cy="4394728"/>
              </a:xfrm>
              <a:blipFill rotWithShape="1">
                <a:blip r:embed="rId2"/>
                <a:stretch>
                  <a:fillRect l="-2287" t="-1664" r="-1759"/>
                </a:stretch>
              </a:blipFill>
            </p:spPr>
            <p:txBody>
              <a:bodyPr/>
              <a:lstStyle/>
              <a:p>
                <a:r>
                  <a:rPr lang="sv-S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00EA7-DA1B-4E6D-8870-707C2883C942}" type="slidenum">
              <a:rPr lang="sv-SE" smtClean="0"/>
              <a:t>8</a:t>
            </a:fld>
            <a:endParaRPr lang="sv-SE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5277" y="2415178"/>
            <a:ext cx="1913466" cy="12905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/>
              <p:cNvSpPr txBox="1"/>
              <p:nvPr/>
            </p:nvSpPr>
            <p:spPr>
              <a:xfrm>
                <a:off x="1553181" y="2415178"/>
                <a:ext cx="4292601" cy="160043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2000" dirty="0">
                    <a:solidFill>
                      <a:srgbClr val="0070C0"/>
                    </a:solidFill>
                  </a:rPr>
                  <a:t>Test: </a:t>
                </a:r>
                <a:r>
                  <a:rPr lang="en-GB" sz="2000" dirty="0"/>
                  <a:t>to check the performance of the derived controller </a:t>
                </a:r>
                <a14:m>
                  <m:oMath xmlns:m="http://schemas.openxmlformats.org/officeDocument/2006/math">
                    <m:r>
                      <a:rPr lang="en-GB" sz="2000" i="1">
                        <a:latin typeface="Cambria Math"/>
                      </a:rPr>
                      <m:t>𝐾</m:t>
                    </m:r>
                  </m:oMath>
                </a14:m>
                <a:r>
                  <a:rPr lang="en-GB" sz="2000" dirty="0"/>
                  <a:t>, it should be implemented in the control loop of the main model. </a:t>
                </a:r>
              </a:p>
              <a:p>
                <a:endParaRPr lang="sv-SE" dirty="0"/>
              </a:p>
            </p:txBody>
          </p:sp>
        </mc:Choice>
        <mc:Fallback xmlns="">
          <p:sp>
            <p:nvSpPr>
              <p:cNvPr id="7" name="TextBox 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53181" y="2415178"/>
                <a:ext cx="4292601" cy="1600438"/>
              </a:xfrm>
              <a:prstGeom prst="rect">
                <a:avLst/>
              </a:prstGeom>
              <a:blipFill rotWithShape="1">
                <a:blip r:embed="rId4"/>
                <a:stretch>
                  <a:fillRect l="-1563" t="-1521" r="-1989"/>
                </a:stretch>
              </a:blipFill>
            </p:spPr>
            <p:txBody>
              <a:bodyPr/>
              <a:lstStyle/>
              <a:p>
                <a:r>
                  <a:rPr lang="sv-S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832578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Title 1"/>
              <p:cNvSpPr>
                <a:spLocks noGrp="1"/>
              </p:cNvSpPr>
              <p:nvPr>
                <p:ph type="title"/>
              </p:nvPr>
            </p:nvSpPr>
            <p:spPr>
              <a:xfrm>
                <a:off x="1276677" y="277870"/>
                <a:ext cx="6935788" cy="668338"/>
              </a:xfrm>
            </p:spPr>
            <p:txBody>
              <a:bodyPr/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 smtClean="0">
                            <a:latin typeface="Cambria Math"/>
                          </a:rPr>
                          <m:t>𝑯</m:t>
                        </m:r>
                      </m:e>
                      <m:sub>
                        <m:r>
                          <a:rPr lang="en-US" b="1" i="1">
                            <a:latin typeface="Cambria Math"/>
                          </a:rPr>
                          <m:t>∞</m:t>
                        </m:r>
                      </m:sub>
                    </m:sSub>
                  </m:oMath>
                </a14:m>
                <a:r>
                  <a:rPr lang="sv-SE" dirty="0"/>
                  <a:t> concept</a:t>
                </a:r>
              </a:p>
            </p:txBody>
          </p:sp>
        </mc:Choice>
        <mc:Fallback xmlns="">
          <p:sp>
            <p:nvSpPr>
              <p:cNvPr id="2" name="Title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xfrm>
                <a:off x="1276677" y="277870"/>
                <a:ext cx="6935788" cy="668338"/>
              </a:xfrm>
              <a:blipFill rotWithShape="1">
                <a:blip r:embed="rId2"/>
                <a:stretch>
                  <a:fillRect b="-29358"/>
                </a:stretch>
              </a:blipFill>
            </p:spPr>
            <p:txBody>
              <a:bodyPr/>
              <a:lstStyle/>
              <a:p>
                <a:r>
                  <a:rPr lang="sv-S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z="700" smtClean="0"/>
              <a:pPr/>
              <a:t>9</a:t>
            </a:fld>
            <a:endParaRPr lang="sv-SE" sz="7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1105205" y="1314450"/>
                <a:ext cx="7445329" cy="4556279"/>
              </a:xfrm>
            </p:spPr>
            <p:txBody>
              <a:bodyPr>
                <a:normAutofit fontScale="47500" lnSpcReduction="20000"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sz="33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3300" b="1" i="1">
                            <a:latin typeface="Cambria Math"/>
                          </a:rPr>
                          <m:t>𝑯</m:t>
                        </m:r>
                      </m:e>
                      <m:sub>
                        <m:r>
                          <a:rPr lang="en-US" sz="3300" b="1" i="1">
                            <a:latin typeface="Cambria Math"/>
                          </a:rPr>
                          <m:t>∞</m:t>
                        </m:r>
                      </m:sub>
                    </m:sSub>
                  </m:oMath>
                </a14:m>
                <a:r>
                  <a:rPr lang="en-US" sz="3300" b="1" dirty="0"/>
                  <a:t> norm:</a:t>
                </a:r>
              </a:p>
              <a:p>
                <a:r>
                  <a:rPr lang="en-US" sz="3300" dirty="0"/>
                  <a:t>of a transfer function is</a:t>
                </a:r>
                <a:r>
                  <a:rPr lang="en-US" sz="3300" dirty="0">
                    <a:solidFill>
                      <a:srgbClr val="FF0000"/>
                    </a:solidFill>
                  </a:rPr>
                  <a:t> </a:t>
                </a:r>
                <a:r>
                  <a:rPr lang="en-US" sz="3300" dirty="0"/>
                  <a:t>its maximum magnitude over the whole frequency range. </a:t>
                </a:r>
                <a:endParaRPr lang="sv-SE" sz="3300" dirty="0"/>
              </a:p>
              <a:p>
                <a:pPr algn="ctr"/>
                <a14:m>
                  <m:oMath xmlns:m="http://schemas.openxmlformats.org/officeDocument/2006/math">
                    <m:sSub>
                      <m:sSubPr>
                        <m:ctrlPr>
                          <a:rPr lang="sv-SE" sz="33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d>
                          <m:dPr>
                            <m:begChr m:val="‖"/>
                            <m:endChr m:val="‖"/>
                            <m:ctrlPr>
                              <a:rPr lang="sv-SE" sz="330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sz="3300" b="0" i="1" smtClean="0">
                                <a:latin typeface="Cambria Math"/>
                              </a:rPr>
                              <m:t>𝑇</m:t>
                            </m:r>
                            <m:r>
                              <a:rPr lang="en-GB" sz="3300" i="1">
                                <a:latin typeface="Cambria Math"/>
                              </a:rPr>
                              <m:t>(</m:t>
                            </m:r>
                            <m:r>
                              <a:rPr lang="sv-SE" sz="3300" b="0" i="1" smtClean="0">
                                <a:latin typeface="Cambria Math"/>
                              </a:rPr>
                              <m:t>𝑖𝑤</m:t>
                            </m:r>
                            <m:r>
                              <a:rPr lang="en-GB" sz="3300" i="1">
                                <a:latin typeface="Cambria Math"/>
                              </a:rPr>
                              <m:t>)</m:t>
                            </m:r>
                          </m:e>
                        </m:d>
                      </m:e>
                      <m:sub>
                        <m:r>
                          <a:rPr lang="en-GB" sz="3300" i="1">
                            <a:latin typeface="Cambria Math"/>
                          </a:rPr>
                          <m:t>∞</m:t>
                        </m:r>
                      </m:sub>
                    </m:sSub>
                    <m:r>
                      <a:rPr lang="en-GB" sz="3300" i="1">
                        <a:latin typeface="Cambria Math"/>
                      </a:rPr>
                      <m:t>=</m:t>
                    </m:r>
                    <m:func>
                      <m:funcPr>
                        <m:ctrlPr>
                          <a:rPr lang="sv-SE" sz="3300" i="1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limLow>
                          <m:limLowPr>
                            <m:ctrlPr>
                              <a:rPr lang="sv-SE" sz="3300" i="1">
                                <a:latin typeface="Cambria Math" panose="02040503050406030204" pitchFamily="18" charset="0"/>
                              </a:rPr>
                            </m:ctrlPr>
                          </m:limLowPr>
                          <m:e>
                            <m:r>
                              <m:rPr>
                                <m:sty m:val="p"/>
                              </m:rPr>
                              <a:rPr lang="en-GB" sz="3300">
                                <a:latin typeface="Cambria Math"/>
                              </a:rPr>
                              <m:t>sup</m:t>
                            </m:r>
                          </m:e>
                          <m:lim>
                            <m:r>
                              <a:rPr lang="en-GB" sz="3300" i="1">
                                <a:latin typeface="Cambria Math"/>
                              </a:rPr>
                              <m:t>𝑤</m:t>
                            </m:r>
                          </m:lim>
                        </m:limLow>
                      </m:fName>
                      <m:e>
                        <m:r>
                          <a:rPr lang="en-GB" sz="3300" i="1">
                            <a:latin typeface="Cambria Math"/>
                          </a:rPr>
                          <m:t> </m:t>
                        </m:r>
                        <m:d>
                          <m:dPr>
                            <m:begChr m:val="|"/>
                            <m:endChr m:val="|"/>
                            <m:ctrlPr>
                              <a:rPr lang="sv-SE" sz="330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sz="3300" b="0" i="1" smtClean="0">
                                <a:latin typeface="Cambria Math"/>
                              </a:rPr>
                              <m:t>𝑇</m:t>
                            </m:r>
                            <m:r>
                              <a:rPr lang="en-GB" sz="3300" i="1">
                                <a:latin typeface="Cambria Math"/>
                              </a:rPr>
                              <m:t>(</m:t>
                            </m:r>
                            <m:r>
                              <a:rPr lang="en-GB" sz="3300" i="1">
                                <a:latin typeface="Cambria Math"/>
                              </a:rPr>
                              <m:t>𝑖𝑤</m:t>
                            </m:r>
                            <m:r>
                              <a:rPr lang="en-GB" sz="3300" i="1">
                                <a:latin typeface="Cambria Math"/>
                              </a:rPr>
                              <m:t>)</m:t>
                            </m:r>
                          </m:e>
                        </m:d>
                      </m:e>
                    </m:func>
                    <m:r>
                      <a:rPr lang="en-GB" sz="3300" i="1">
                        <a:latin typeface="Cambria Math"/>
                      </a:rPr>
                      <m:t> </m:t>
                    </m:r>
                  </m:oMath>
                </a14:m>
                <a:r>
                  <a:rPr lang="sv-SE" sz="1800" dirty="0"/>
                  <a:t>	</a:t>
                </a:r>
              </a:p>
              <a:p>
                <a:endParaRPr lang="sv-SE" sz="1800" dirty="0"/>
              </a:p>
              <a:p>
                <a:endParaRPr lang="sv-SE" sz="1800" dirty="0"/>
              </a:p>
              <a:p>
                <a:endParaRPr lang="sv-SE" sz="1800" dirty="0"/>
              </a:p>
              <a:p>
                <a:endParaRPr lang="sv-SE" sz="1800" dirty="0"/>
              </a:p>
            </p:txBody>
          </p:sp>
        </mc:Choice>
        <mc:Fallback xmlns="">
          <p:sp>
            <p:nvSpPr>
              <p:cNvPr id="5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1105205" y="1314450"/>
                <a:ext cx="7445329" cy="4556279"/>
              </a:xfrm>
              <a:blipFill>
                <a:blip r:embed="rId3"/>
                <a:stretch>
                  <a:fillRect l="-1637" t="-254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6" name="Group 5"/>
          <p:cNvGrpSpPr/>
          <p:nvPr/>
        </p:nvGrpSpPr>
        <p:grpSpPr>
          <a:xfrm>
            <a:off x="5666115" y="2415828"/>
            <a:ext cx="2795260" cy="1441541"/>
            <a:chOff x="1663700" y="3263809"/>
            <a:chExt cx="2795260" cy="1441541"/>
          </a:xfrm>
        </p:grpSpPr>
        <p:cxnSp>
          <p:nvCxnSpPr>
            <p:cNvPr id="7" name="Straight Arrow Connector 6"/>
            <p:cNvCxnSpPr/>
            <p:nvPr/>
          </p:nvCxnSpPr>
          <p:spPr>
            <a:xfrm>
              <a:off x="1663700" y="3898900"/>
              <a:ext cx="514350" cy="6350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Arrow Connector 7"/>
            <p:cNvCxnSpPr>
              <a:endCxn id="10" idx="1"/>
            </p:cNvCxnSpPr>
            <p:nvPr/>
          </p:nvCxnSpPr>
          <p:spPr>
            <a:xfrm>
              <a:off x="2457450" y="3911600"/>
              <a:ext cx="609600" cy="3175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Oval 8"/>
            <p:cNvSpPr/>
            <p:nvPr/>
          </p:nvSpPr>
          <p:spPr>
            <a:xfrm>
              <a:off x="2178050" y="3778250"/>
              <a:ext cx="279400" cy="254000"/>
            </a:xfrm>
            <a:prstGeom prst="ellipse">
              <a:avLst/>
            </a:prstGeom>
            <a:noFill/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000" dirty="0">
                <a:solidFill>
                  <a:schemeClr val="tx1"/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0" name="Rectangle 9"/>
                <p:cNvSpPr/>
                <p:nvPr/>
              </p:nvSpPr>
              <p:spPr>
                <a:xfrm>
                  <a:off x="3067050" y="3756025"/>
                  <a:ext cx="514350" cy="317500"/>
                </a:xfrm>
                <a:prstGeom prst="rect">
                  <a:avLst/>
                </a:prstGeom>
                <a:noFill/>
                <a:ln w="12700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400" b="0" i="1" smtClean="0">
                            <a:solidFill>
                              <a:schemeClr val="tx1"/>
                            </a:solidFill>
                            <a:latin typeface="Cambria Math"/>
                          </a:rPr>
                          <m:t>𝑃</m:t>
                        </m:r>
                        <m:r>
                          <a:rPr lang="en-US" sz="1400" b="0" i="1" smtClean="0">
                            <a:solidFill>
                              <a:schemeClr val="tx1"/>
                            </a:solidFill>
                            <a:latin typeface="Cambria Math"/>
                          </a:rPr>
                          <m:t>(</m:t>
                        </m:r>
                        <m:r>
                          <a:rPr lang="en-US" sz="1400" b="0" i="1" smtClean="0">
                            <a:solidFill>
                              <a:schemeClr val="tx1"/>
                            </a:solidFill>
                            <a:latin typeface="Cambria Math"/>
                          </a:rPr>
                          <m:t>𝑠</m:t>
                        </m:r>
                        <m:r>
                          <a:rPr lang="en-US" sz="1400" b="0" i="1" smtClean="0">
                            <a:solidFill>
                              <a:schemeClr val="tx1"/>
                            </a:solidFill>
                            <a:latin typeface="Cambria Math"/>
                          </a:rPr>
                          <m:t>)</m:t>
                        </m:r>
                      </m:oMath>
                    </m:oMathPara>
                  </a14:m>
                  <a:endParaRPr lang="sv-SE" sz="1400" dirty="0">
                    <a:solidFill>
                      <a:schemeClr val="tx1"/>
                    </a:solidFill>
                  </a:endParaRPr>
                </a:p>
              </p:txBody>
            </p:sp>
          </mc:Choice>
          <mc:Fallback xmlns="">
            <p:sp>
              <p:nvSpPr>
                <p:cNvPr id="10" name="Rectangle 9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067050" y="3756025"/>
                  <a:ext cx="514350" cy="317500"/>
                </a:xfrm>
                <a:prstGeom prst="rect">
                  <a:avLst/>
                </a:prstGeom>
                <a:blipFill rotWithShape="1">
                  <a:blip r:embed="rId4"/>
                  <a:stretch>
                    <a:fillRect b="-5556"/>
                  </a:stretch>
                </a:blipFill>
                <a:ln w="12700">
                  <a:solidFill>
                    <a:schemeClr val="accent1"/>
                  </a:solidFill>
                </a:ln>
              </p:spPr>
              <p:txBody>
                <a:bodyPr/>
                <a:lstStyle/>
                <a:p>
                  <a:r>
                    <a:rPr lang="sv-SE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11" name="Straight Arrow Connector 10"/>
            <p:cNvCxnSpPr>
              <a:stCxn id="10" idx="3"/>
            </p:cNvCxnSpPr>
            <p:nvPr/>
          </p:nvCxnSpPr>
          <p:spPr>
            <a:xfrm>
              <a:off x="3581400" y="3914775"/>
              <a:ext cx="850900" cy="15875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2" name="Rectangle 11"/>
                <p:cNvSpPr/>
                <p:nvPr/>
              </p:nvSpPr>
              <p:spPr>
                <a:xfrm>
                  <a:off x="3067050" y="4349750"/>
                  <a:ext cx="539750" cy="355600"/>
                </a:xfrm>
                <a:prstGeom prst="rect">
                  <a:avLst/>
                </a:prstGeom>
                <a:noFill/>
                <a:ln w="12700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400" b="0" i="1" smtClean="0">
                            <a:solidFill>
                              <a:schemeClr val="tx1"/>
                            </a:solidFill>
                            <a:latin typeface="Cambria Math"/>
                          </a:rPr>
                          <m:t>𝐾</m:t>
                        </m:r>
                        <m:r>
                          <a:rPr lang="en-US" sz="1400" b="0" i="1" smtClean="0">
                            <a:solidFill>
                              <a:schemeClr val="tx1"/>
                            </a:solidFill>
                            <a:latin typeface="Cambria Math"/>
                          </a:rPr>
                          <m:t>(</m:t>
                        </m:r>
                        <m:r>
                          <a:rPr lang="en-US" sz="1400" b="0" i="1" smtClean="0">
                            <a:solidFill>
                              <a:schemeClr val="tx1"/>
                            </a:solidFill>
                            <a:latin typeface="Cambria Math"/>
                          </a:rPr>
                          <m:t>𝑠</m:t>
                        </m:r>
                        <m:r>
                          <a:rPr lang="en-US" sz="1400" b="0" i="1" smtClean="0">
                            <a:solidFill>
                              <a:schemeClr val="tx1"/>
                            </a:solidFill>
                            <a:latin typeface="Cambria Math"/>
                          </a:rPr>
                          <m:t>)</m:t>
                        </m:r>
                      </m:oMath>
                    </m:oMathPara>
                  </a14:m>
                  <a:endParaRPr lang="sv-SE" sz="1400" dirty="0">
                    <a:solidFill>
                      <a:schemeClr val="tx1"/>
                    </a:solidFill>
                  </a:endParaRPr>
                </a:p>
              </p:txBody>
            </p:sp>
          </mc:Choice>
          <mc:Fallback xmlns="">
            <p:sp>
              <p:nvSpPr>
                <p:cNvPr id="12" name="Rectangle 11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067050" y="4349750"/>
                  <a:ext cx="539750" cy="355600"/>
                </a:xfrm>
                <a:prstGeom prst="rect">
                  <a:avLst/>
                </a:prstGeom>
                <a:blipFill rotWithShape="1">
                  <a:blip r:embed="rId5"/>
                  <a:stretch>
                    <a:fillRect/>
                  </a:stretch>
                </a:blipFill>
                <a:ln w="12700">
                  <a:solidFill>
                    <a:schemeClr val="accent1"/>
                  </a:solidFill>
                </a:ln>
              </p:spPr>
              <p:txBody>
                <a:bodyPr/>
                <a:lstStyle/>
                <a:p>
                  <a:r>
                    <a:rPr lang="sv-SE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13" name="Elbow Connector 12"/>
            <p:cNvCxnSpPr>
              <a:endCxn id="12" idx="3"/>
            </p:cNvCxnSpPr>
            <p:nvPr/>
          </p:nvCxnSpPr>
          <p:spPr>
            <a:xfrm rot="5400000">
              <a:off x="3517900" y="4019550"/>
              <a:ext cx="596900" cy="419100"/>
            </a:xfrm>
            <a:prstGeom prst="bentConnector2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Elbow Connector 13"/>
            <p:cNvCxnSpPr>
              <a:endCxn id="9" idx="4"/>
            </p:cNvCxnSpPr>
            <p:nvPr/>
          </p:nvCxnSpPr>
          <p:spPr>
            <a:xfrm rot="10800000">
              <a:off x="2317750" y="4032250"/>
              <a:ext cx="749300" cy="495300"/>
            </a:xfrm>
            <a:prstGeom prst="bentConnector2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/>
            <p:cNvSpPr txBox="1"/>
            <p:nvPr/>
          </p:nvSpPr>
          <p:spPr>
            <a:xfrm>
              <a:off x="2206181" y="3842693"/>
              <a:ext cx="223138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dirty="0"/>
                <a:t>-</a:t>
              </a:r>
              <a:endParaRPr lang="sv-SE" dirty="0"/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2114550" y="3789834"/>
              <a:ext cx="251992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dirty="0"/>
                <a:t>+</a:t>
              </a:r>
              <a:endParaRPr lang="sv-SE" dirty="0"/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1752600" y="3668410"/>
              <a:ext cx="23596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r</a:t>
              </a:r>
              <a:endParaRPr lang="sv-SE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4197350" y="3647385"/>
              <a:ext cx="26161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y</a:t>
              </a:r>
              <a:endParaRPr lang="sv-SE" dirty="0"/>
            </a:p>
          </p:txBody>
        </p:sp>
        <p:sp>
          <p:nvSpPr>
            <p:cNvPr id="19" name="Freeform 18"/>
            <p:cNvSpPr/>
            <p:nvPr/>
          </p:nvSpPr>
          <p:spPr>
            <a:xfrm>
              <a:off x="2006600" y="3543027"/>
              <a:ext cx="2203450" cy="171723"/>
            </a:xfrm>
            <a:custGeom>
              <a:avLst/>
              <a:gdLst>
                <a:gd name="connsiteX0" fmla="*/ 0 w 2203450"/>
                <a:gd name="connsiteY0" fmla="*/ 139973 h 171723"/>
                <a:gd name="connsiteX1" fmla="*/ 1117600 w 2203450"/>
                <a:gd name="connsiteY1" fmla="*/ 273 h 171723"/>
                <a:gd name="connsiteX2" fmla="*/ 2203450 w 2203450"/>
                <a:gd name="connsiteY2" fmla="*/ 171723 h 171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03450" h="171723">
                  <a:moveTo>
                    <a:pt x="0" y="139973"/>
                  </a:moveTo>
                  <a:cubicBezTo>
                    <a:pt x="375179" y="67477"/>
                    <a:pt x="750358" y="-5019"/>
                    <a:pt x="1117600" y="273"/>
                  </a:cubicBezTo>
                  <a:cubicBezTo>
                    <a:pt x="1484842" y="5565"/>
                    <a:pt x="2022475" y="134681"/>
                    <a:pt x="2203450" y="171723"/>
                  </a:cubicBezTo>
                </a:path>
              </a:pathLst>
            </a:custGeom>
            <a:noFill/>
            <a:ln w="12700">
              <a:solidFill>
                <a:srgbClr val="FF0000"/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dirty="0"/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2860264" y="3263809"/>
              <a:ext cx="50206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/>
                <a:t>T(s)</a:t>
              </a:r>
              <a:endParaRPr lang="sv-SE" sz="1400" dirty="0"/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3084" name="TextBox 3083"/>
              <p:cNvSpPr txBox="1"/>
              <p:nvPr/>
            </p:nvSpPr>
            <p:spPr>
              <a:xfrm>
                <a:off x="946151" y="2989285"/>
                <a:ext cx="4675514" cy="258532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just"/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/>
                          </a:rPr>
                          <m:t>𝐻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∞</m:t>
                        </m:r>
                      </m:sub>
                    </m:sSub>
                  </m:oMath>
                </a14:m>
                <a:r>
                  <a:rPr lang="en-US" dirty="0"/>
                  <a:t> control tries to  design the controller </a:t>
                </a:r>
                <a14:m>
                  <m:oMath xmlns:m="http://schemas.openxmlformats.org/officeDocument/2006/math">
                    <m:r>
                      <a:rPr lang="sv-SE" i="1">
                        <a:latin typeface="Cambria Math"/>
                      </a:rPr>
                      <m:t>𝐾</m:t>
                    </m:r>
                  </m:oMath>
                </a14:m>
                <a:r>
                  <a:rPr lang="en-US" dirty="0"/>
                  <a:t> such that the infinity norm of the closed loop transfer function 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/>
                      </a:rPr>
                      <m:t>𝑇</m:t>
                    </m:r>
                    <m:r>
                      <a:rPr lang="en-US" i="1">
                        <a:latin typeface="Cambria Math"/>
                      </a:rPr>
                      <m:t>(</m:t>
                    </m:r>
                    <m:r>
                      <a:rPr lang="en-US" i="1">
                        <a:latin typeface="Cambria Math"/>
                      </a:rPr>
                      <m:t>𝑠</m:t>
                    </m:r>
                    <m:r>
                      <a:rPr lang="en-US" i="1">
                        <a:latin typeface="Cambria Math"/>
                      </a:rPr>
                      <m:t>)</m:t>
                    </m:r>
                  </m:oMath>
                </a14:m>
                <a:r>
                  <a:rPr lang="en-US" dirty="0"/>
                  <a:t> is minimized.</a:t>
                </a:r>
              </a:p>
              <a:p>
                <a:endParaRPr lang="en-US" dirty="0"/>
              </a:p>
              <a:p>
                <a:endParaRPr lang="en-US" dirty="0"/>
              </a:p>
              <a:p>
                <a:pPr algn="just"/>
                <a:r>
                  <a:rPr lang="en-US" dirty="0"/>
                  <a:t>We can focus this minimization process on specific frequency ranges by proper weighting functions 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/>
                      </a:rPr>
                      <m:t>𝑊</m:t>
                    </m:r>
                    <m:r>
                      <a:rPr lang="en-US" i="1">
                        <a:latin typeface="Cambria Math"/>
                      </a:rPr>
                      <m:t>(</m:t>
                    </m:r>
                    <m:r>
                      <a:rPr lang="en-US" i="1">
                        <a:latin typeface="Cambria Math"/>
                      </a:rPr>
                      <m:t>𝑠</m:t>
                    </m:r>
                    <m:r>
                      <a:rPr lang="en-US" i="1">
                        <a:latin typeface="Cambria Math"/>
                      </a:rPr>
                      <m:t>)</m:t>
                    </m:r>
                  </m:oMath>
                </a14:m>
                <a:r>
                  <a:rPr lang="en-US" dirty="0"/>
                  <a:t> (penalizing)</a:t>
                </a:r>
                <a:endParaRPr lang="sv-SE" dirty="0"/>
              </a:p>
              <a:p>
                <a:endParaRPr lang="sv-SE" dirty="0"/>
              </a:p>
            </p:txBody>
          </p:sp>
        </mc:Choice>
        <mc:Fallback xmlns="">
          <p:sp>
            <p:nvSpPr>
              <p:cNvPr id="3084" name="TextBox 308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46151" y="2989285"/>
                <a:ext cx="4675514" cy="2585323"/>
              </a:xfrm>
              <a:prstGeom prst="rect">
                <a:avLst/>
              </a:prstGeom>
              <a:blipFill rotWithShape="1">
                <a:blip r:embed="rId6"/>
                <a:stretch>
                  <a:fillRect l="-1043" t="-1179" r="-1173"/>
                </a:stretch>
              </a:blipFill>
            </p:spPr>
            <p:txBody>
              <a:bodyPr/>
              <a:lstStyle/>
              <a:p>
                <a:r>
                  <a:rPr lang="sv-S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3086" name="Group 3085"/>
          <p:cNvGrpSpPr/>
          <p:nvPr/>
        </p:nvGrpSpPr>
        <p:grpSpPr>
          <a:xfrm>
            <a:off x="5975463" y="3908169"/>
            <a:ext cx="2538496" cy="1844361"/>
            <a:chOff x="5432669" y="2908328"/>
            <a:chExt cx="2800106" cy="2047925"/>
          </a:xfrm>
        </p:grpSpPr>
        <p:pic>
          <p:nvPicPr>
            <p:cNvPr id="3074" name="Picture 2" descr="C:\Users\Alireza\Downloads\Figure13a.GIF"/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15" t="13213" r="52222" b="6137"/>
            <a:stretch/>
          </p:blipFill>
          <p:spPr bwMode="auto">
            <a:xfrm>
              <a:off x="5432669" y="3220149"/>
              <a:ext cx="2800106" cy="17361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22" name="Straight Connector 21"/>
            <p:cNvCxnSpPr/>
            <p:nvPr/>
          </p:nvCxnSpPr>
          <p:spPr>
            <a:xfrm>
              <a:off x="5753974" y="4239402"/>
              <a:ext cx="337482" cy="4374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 flipV="1">
              <a:off x="6102350" y="3218300"/>
              <a:ext cx="396875" cy="1849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>
            <a:xfrm flipV="1">
              <a:off x="6080562" y="3220149"/>
              <a:ext cx="21788" cy="1019255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>
              <a:off x="6499225" y="3220149"/>
              <a:ext cx="92075" cy="1023627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>
            <a:xfrm>
              <a:off x="6591300" y="4239402"/>
              <a:ext cx="762000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085" name="TextBox 3084"/>
                <p:cNvSpPr txBox="1"/>
                <p:nvPr/>
              </p:nvSpPr>
              <p:spPr>
                <a:xfrm>
                  <a:off x="5972364" y="2908328"/>
                  <a:ext cx="656846" cy="3077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400" b="0" i="1" smtClean="0">
                            <a:solidFill>
                              <a:srgbClr val="FF0000"/>
                            </a:solidFill>
                            <a:latin typeface="Cambria Math"/>
                          </a:rPr>
                          <m:t>𝑊</m:t>
                        </m:r>
                        <m:r>
                          <a:rPr lang="en-US" sz="1400" b="0" i="1" smtClean="0">
                            <a:solidFill>
                              <a:srgbClr val="FF0000"/>
                            </a:solidFill>
                            <a:latin typeface="Cambria Math"/>
                          </a:rPr>
                          <m:t>(</m:t>
                        </m:r>
                        <m:r>
                          <a:rPr lang="en-US" sz="1400" b="0" i="1" smtClean="0">
                            <a:solidFill>
                              <a:srgbClr val="FF0000"/>
                            </a:solidFill>
                            <a:latin typeface="Cambria Math"/>
                          </a:rPr>
                          <m:t>𝑆</m:t>
                        </m:r>
                        <m:r>
                          <a:rPr lang="en-US" sz="1400" b="0" i="1" smtClean="0">
                            <a:solidFill>
                              <a:srgbClr val="FF0000"/>
                            </a:solidFill>
                            <a:latin typeface="Cambria Math"/>
                          </a:rPr>
                          <m:t>)</m:t>
                        </m:r>
                      </m:oMath>
                    </m:oMathPara>
                  </a14:m>
                  <a:endParaRPr lang="sv-SE" sz="1400" dirty="0">
                    <a:solidFill>
                      <a:srgbClr val="FF0000"/>
                    </a:solidFill>
                  </a:endParaRPr>
                </a:p>
              </p:txBody>
            </p:sp>
          </mc:Choice>
          <mc:Fallback xmlns="">
            <p:sp>
              <p:nvSpPr>
                <p:cNvPr id="3085" name="TextBox 3084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972364" y="2908328"/>
                  <a:ext cx="656846" cy="307777"/>
                </a:xfrm>
                <a:prstGeom prst="rect">
                  <a:avLst/>
                </a:prstGeom>
                <a:blipFill rotWithShape="1">
                  <a:blip r:embed="rId8"/>
                  <a:stretch>
                    <a:fillRect b="-22222"/>
                  </a:stretch>
                </a:blipFill>
              </p:spPr>
              <p:txBody>
                <a:bodyPr/>
                <a:lstStyle/>
                <a:p>
                  <a:r>
                    <a:rPr lang="sv-SE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3" name="TextBox 2"/>
          <p:cNvSpPr txBox="1"/>
          <p:nvPr/>
        </p:nvSpPr>
        <p:spPr>
          <a:xfrm>
            <a:off x="6881182" y="5682680"/>
            <a:ext cx="9671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frequency</a:t>
            </a:r>
            <a:endParaRPr lang="sv-SE" sz="1200" dirty="0"/>
          </a:p>
        </p:txBody>
      </p:sp>
    </p:spTree>
    <p:extLst>
      <p:ext uri="{BB962C8B-B14F-4D97-AF65-F5344CB8AC3E}">
        <p14:creationId xmlns:p14="http://schemas.microsoft.com/office/powerpoint/2010/main" val="8393045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" val="fcb025ba9a6ccf8fed139b5222f2a63b17a479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TH_PPT template 2014 general">
  <a:themeElements>
    <a:clrScheme name="Anpassat 9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954A6"/>
      </a:accent1>
      <a:accent2>
        <a:srgbClr val="5893E5"/>
      </a:accent2>
      <a:accent3>
        <a:srgbClr val="62922E"/>
      </a:accent3>
      <a:accent4>
        <a:srgbClr val="A1D16D"/>
      </a:accent4>
      <a:accent5>
        <a:srgbClr val="9D102D"/>
      </a:accent5>
      <a:accent6>
        <a:srgbClr val="EC4769"/>
      </a:accent6>
      <a:hlink>
        <a:srgbClr val="C2C2C4"/>
      </a:hlink>
      <a:folHlink>
        <a:srgbClr val="800080"/>
      </a:folHlink>
    </a:clrScheme>
    <a:fontScheme name="Anpassat 2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KTH_PPT template 2014 general</Template>
  <TotalTime>0</TotalTime>
  <Words>550</Words>
  <Application>Microsoft Office PowerPoint</Application>
  <PresentationFormat>On-screen Show (4:3)</PresentationFormat>
  <Paragraphs>178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0" baseType="lpstr">
      <vt:lpstr>Arial</vt:lpstr>
      <vt:lpstr>Calibri</vt:lpstr>
      <vt:lpstr>Cambria Math</vt:lpstr>
      <vt:lpstr>Times</vt:lpstr>
      <vt:lpstr>KTH_PPT template 2014 general</vt:lpstr>
      <vt:lpstr>think-cell Slide</vt:lpstr>
      <vt:lpstr>Applied Vehicle Dynamics Control  SD2231  Lab 3</vt:lpstr>
      <vt:lpstr>Introduction</vt:lpstr>
      <vt:lpstr>Theory:</vt:lpstr>
      <vt:lpstr>Skyhook</vt:lpstr>
      <vt:lpstr>H_∞norm:</vt:lpstr>
      <vt:lpstr>H_∞ controller principle:</vt:lpstr>
      <vt:lpstr>Extending the model P with weighting functions</vt:lpstr>
      <vt:lpstr>Contd. </vt:lpstr>
      <vt:lpstr>H_∞ concept</vt:lpstr>
      <vt:lpstr>Control of a single degree of freedom (SDOF) system</vt:lpstr>
      <vt:lpstr>Control of a 2 degrees of freedom system</vt:lpstr>
      <vt:lpstr>Control of bounce and pitch using Skyhook and H_∞</vt:lpstr>
      <vt:lpstr> Report writing</vt:lpstr>
      <vt:lpstr>Notes</vt:lpstr>
    </vt:vector>
  </TitlesOfParts>
  <Company>H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plied vehicle dynamics control - SD2231 Lab 2</dc:title>
  <dc:creator>Alireza</dc:creator>
  <cp:lastModifiedBy>Qazizadeh, Alireza</cp:lastModifiedBy>
  <cp:revision>45</cp:revision>
  <cp:lastPrinted>2013-05-27T09:10:21Z</cp:lastPrinted>
  <dcterms:created xsi:type="dcterms:W3CDTF">2015-04-13T08:08:06Z</dcterms:created>
  <dcterms:modified xsi:type="dcterms:W3CDTF">2020-04-27T07:25:17Z</dcterms:modified>
</cp:coreProperties>
</file>